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6"/>
  </p:sldMasterIdLst>
  <p:notesMasterIdLst>
    <p:notesMasterId r:id="rId16"/>
  </p:notesMasterIdLst>
  <p:sldIdLst>
    <p:sldId id="271" r:id="rId7"/>
    <p:sldId id="257" r:id="rId8"/>
    <p:sldId id="258" r:id="rId9"/>
    <p:sldId id="259" r:id="rId10"/>
    <p:sldId id="260" r:id="rId11"/>
    <p:sldId id="261" r:id="rId12"/>
    <p:sldId id="269" r:id="rId13"/>
    <p:sldId id="263" r:id="rId14"/>
    <p:sldId id="270" r:id="rId15"/>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uline Goh" initials="PG" lastIdx="1" clrIdx="0">
    <p:extLst>
      <p:ext uri="{19B8F6BF-5375-455C-9EA6-DF929625EA0E}">
        <p15:presenceInfo xmlns:p15="http://schemas.microsoft.com/office/powerpoint/2012/main" userId="S::pauline.goh@nopsema.gov.au::f870cbf0-72b6-4bb7-bf50-9ee9e4ccb0f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233BA8-022D-4FF7-954F-571F63814400}" v="131" dt="2021-08-30T07:59:53.533"/>
    <p1510:client id="{8BBE03F0-1ABE-4DC5-AA33-444CE94E2F19}" v="399" dt="2021-08-30T06:35:44.043"/>
  </p1510:revLst>
</p1510:revInfo>
</file>

<file path=ppt/tableStyles.xml><?xml version="1.0" encoding="utf-8"?>
<a:tblStyleLst xmlns:a="http://schemas.openxmlformats.org/drawingml/2006/main" def="{5C22544A-7EE6-4342-B048-85BDC9FD1C3A}">
  <a:tblStyle styleId="{BDBED569-4797-4DF1-A0F4-6AAB3CD982D8}" styleName="Lys stil 3 – utheving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7" d="100"/>
          <a:sy n="87" d="100"/>
        </p:scale>
        <p:origin x="66" y="31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5" Type="http://schemas.openxmlformats.org/officeDocument/2006/relationships/customXml" Target="../customXml/item5.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5/10/relationships/revisionInfo" Target="revisionInfo.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42A9B70-0F81-45F8-84D4-A2C3B90880B5}" type="doc">
      <dgm:prSet loTypeId="urn:microsoft.com/office/officeart/2016/7/layout/BasicTimeline" loCatId="process" qsTypeId="urn:microsoft.com/office/officeart/2005/8/quickstyle/simple1" qsCatId="simple" csTypeId="urn:microsoft.com/office/officeart/2005/8/colors/accent1_2" csCatId="accent1" phldr="1"/>
      <dgm:spPr/>
      <dgm:t>
        <a:bodyPr/>
        <a:lstStyle/>
        <a:p>
          <a:endParaRPr lang="en-US"/>
        </a:p>
      </dgm:t>
    </dgm:pt>
    <dgm:pt modelId="{DD6709C0-CF66-44C7-8A87-FFB42F7B503B}">
      <dgm:prSet/>
      <dgm:spPr/>
      <dgm:t>
        <a:bodyPr/>
        <a:lstStyle/>
        <a:p>
          <a:pPr>
            <a:defRPr b="1"/>
          </a:pPr>
          <a:r>
            <a:rPr lang="en-US"/>
            <a:t>2019</a:t>
          </a:r>
        </a:p>
      </dgm:t>
    </dgm:pt>
    <dgm:pt modelId="{83770D61-2922-4463-A7BF-4DB115492D23}" type="parTrans" cxnId="{C757FCEB-87E9-4AC7-BE4E-AC5883CE630F}">
      <dgm:prSet/>
      <dgm:spPr/>
      <dgm:t>
        <a:bodyPr/>
        <a:lstStyle/>
        <a:p>
          <a:endParaRPr lang="en-US"/>
        </a:p>
      </dgm:t>
    </dgm:pt>
    <dgm:pt modelId="{5A5A0D08-F273-4DEF-BF39-B94979BCE1E9}" type="sibTrans" cxnId="{C757FCEB-87E9-4AC7-BE4E-AC5883CE630F}">
      <dgm:prSet/>
      <dgm:spPr/>
      <dgm:t>
        <a:bodyPr/>
        <a:lstStyle/>
        <a:p>
          <a:endParaRPr lang="en-US"/>
        </a:p>
      </dgm:t>
    </dgm:pt>
    <dgm:pt modelId="{A9E09059-6B6A-4353-85C1-3BBFD03EE27D}">
      <dgm:prSet/>
      <dgm:spPr>
        <a:ln>
          <a:solidFill>
            <a:schemeClr val="accent2"/>
          </a:solidFill>
        </a:ln>
      </dgm:spPr>
      <dgm:t>
        <a:bodyPr/>
        <a:lstStyle/>
        <a:p>
          <a:pPr>
            <a:buFont typeface="Arial" panose="020B0604020202020204" pitchFamily="34" charset="0"/>
            <a:buChar char="•"/>
          </a:pPr>
          <a:r>
            <a:rPr lang="en-US">
              <a:latin typeface="Segoe UI" panose="020B0502040204020203" pitchFamily="34" charset="0"/>
              <a:cs typeface="Segoe UI" panose="020B0502040204020203" pitchFamily="34" charset="0"/>
            </a:rPr>
            <a:t>Kick off (Hague) </a:t>
          </a:r>
        </a:p>
      </dgm:t>
    </dgm:pt>
    <dgm:pt modelId="{465E33AA-80AC-4234-9093-E81CD46B9579}" type="parTrans" cxnId="{302DCD60-E4FF-4A39-9BC7-2A7DAD4B94C8}">
      <dgm:prSet/>
      <dgm:spPr/>
      <dgm:t>
        <a:bodyPr/>
        <a:lstStyle/>
        <a:p>
          <a:endParaRPr lang="en-US"/>
        </a:p>
      </dgm:t>
    </dgm:pt>
    <dgm:pt modelId="{9190810C-F0BB-42F9-ABCF-8094E8C29807}" type="sibTrans" cxnId="{302DCD60-E4FF-4A39-9BC7-2A7DAD4B94C8}">
      <dgm:prSet/>
      <dgm:spPr/>
      <dgm:t>
        <a:bodyPr/>
        <a:lstStyle/>
        <a:p>
          <a:endParaRPr lang="en-US"/>
        </a:p>
      </dgm:t>
    </dgm:pt>
    <dgm:pt modelId="{81156FF1-B294-4D85-9F0B-45A853357C7F}">
      <dgm:prSet/>
      <dgm:spPr>
        <a:ln>
          <a:solidFill>
            <a:schemeClr val="accent2"/>
          </a:solidFill>
        </a:ln>
      </dgm:spPr>
      <dgm:t>
        <a:bodyPr/>
        <a:lstStyle/>
        <a:p>
          <a:pPr>
            <a:buFont typeface="Arial" panose="020B0604020202020204" pitchFamily="34" charset="0"/>
            <a:buChar char="•"/>
          </a:pPr>
          <a:r>
            <a:rPr lang="en-US">
              <a:latin typeface="Segoe UI" panose="020B0502040204020203" pitchFamily="34" charset="0"/>
              <a:cs typeface="Segoe UI" panose="020B0502040204020203" pitchFamily="34" charset="0"/>
            </a:rPr>
            <a:t>Follow up conversations IOGP/NOPSEMA (Sydney) </a:t>
          </a:r>
        </a:p>
      </dgm:t>
    </dgm:pt>
    <dgm:pt modelId="{CE7565A7-AA7B-4351-8432-13B9E8E840C2}" type="parTrans" cxnId="{19FC0C38-2430-4B49-BCA2-2BD42DC050C1}">
      <dgm:prSet/>
      <dgm:spPr/>
      <dgm:t>
        <a:bodyPr/>
        <a:lstStyle/>
        <a:p>
          <a:endParaRPr lang="en-US"/>
        </a:p>
      </dgm:t>
    </dgm:pt>
    <dgm:pt modelId="{37F0C0E0-4A77-4886-8EE1-11145C3441A4}" type="sibTrans" cxnId="{19FC0C38-2430-4B49-BCA2-2BD42DC050C1}">
      <dgm:prSet/>
      <dgm:spPr/>
      <dgm:t>
        <a:bodyPr/>
        <a:lstStyle/>
        <a:p>
          <a:endParaRPr lang="en-US"/>
        </a:p>
      </dgm:t>
    </dgm:pt>
    <dgm:pt modelId="{A908B84E-31F9-471C-A723-DC3BE0A67F4D}">
      <dgm:prSet/>
      <dgm:spPr>
        <a:ln>
          <a:solidFill>
            <a:schemeClr val="accent2"/>
          </a:solidFill>
        </a:ln>
      </dgm:spPr>
      <dgm:t>
        <a:bodyPr/>
        <a:lstStyle/>
        <a:p>
          <a:pPr>
            <a:buFont typeface="Arial" panose="020B0604020202020204" pitchFamily="34" charset="0"/>
            <a:buChar char="•"/>
          </a:pPr>
          <a:r>
            <a:rPr lang="en-US">
              <a:latin typeface="Segoe UI" panose="020B0502040204020203" pitchFamily="34" charset="0"/>
              <a:cs typeface="Segoe UI" panose="020B0502040204020203" pitchFamily="34" charset="0"/>
            </a:rPr>
            <a:t>Initial PS drafted</a:t>
          </a:r>
        </a:p>
      </dgm:t>
    </dgm:pt>
    <dgm:pt modelId="{6F08B3FE-E640-46A8-82FA-9012FC135836}" type="parTrans" cxnId="{2AAD44D3-0B74-471A-8D09-D8C85AAB3110}">
      <dgm:prSet/>
      <dgm:spPr/>
      <dgm:t>
        <a:bodyPr/>
        <a:lstStyle/>
        <a:p>
          <a:endParaRPr lang="en-US"/>
        </a:p>
      </dgm:t>
    </dgm:pt>
    <dgm:pt modelId="{89D46AF4-59DD-4ACE-9E9A-1A73E0C03FAB}" type="sibTrans" cxnId="{2AAD44D3-0B74-471A-8D09-D8C85AAB3110}">
      <dgm:prSet/>
      <dgm:spPr/>
      <dgm:t>
        <a:bodyPr/>
        <a:lstStyle/>
        <a:p>
          <a:endParaRPr lang="en-US"/>
        </a:p>
      </dgm:t>
    </dgm:pt>
    <dgm:pt modelId="{FD98200B-8F2A-4FF3-ACBF-B2865E579631}">
      <dgm:prSet/>
      <dgm:spPr/>
      <dgm:t>
        <a:bodyPr/>
        <a:lstStyle/>
        <a:p>
          <a:pPr>
            <a:defRPr b="1"/>
          </a:pPr>
          <a:r>
            <a:rPr lang="en-US"/>
            <a:t>2020</a:t>
          </a:r>
        </a:p>
      </dgm:t>
    </dgm:pt>
    <dgm:pt modelId="{75B757A6-A516-4821-A474-FA7A7A6B8464}" type="parTrans" cxnId="{3462F200-E4E4-4268-BBB4-2A34E263D242}">
      <dgm:prSet/>
      <dgm:spPr/>
      <dgm:t>
        <a:bodyPr/>
        <a:lstStyle/>
        <a:p>
          <a:endParaRPr lang="en-US"/>
        </a:p>
      </dgm:t>
    </dgm:pt>
    <dgm:pt modelId="{089F1CCF-8379-40DF-AB3F-4FD60466F630}" type="sibTrans" cxnId="{3462F200-E4E4-4268-BBB4-2A34E263D242}">
      <dgm:prSet/>
      <dgm:spPr/>
      <dgm:t>
        <a:bodyPr/>
        <a:lstStyle/>
        <a:p>
          <a:endParaRPr lang="en-US"/>
        </a:p>
      </dgm:t>
    </dgm:pt>
    <dgm:pt modelId="{98D50B3B-523B-49FA-8FDE-A78340A6B422}">
      <dgm:prSet/>
      <dgm:spPr>
        <a:ln>
          <a:solidFill>
            <a:schemeClr val="accent6"/>
          </a:solidFill>
        </a:ln>
      </dgm:spPr>
      <dgm:t>
        <a:bodyPr/>
        <a:lstStyle/>
        <a:p>
          <a:r>
            <a:rPr lang="en-US"/>
            <a:t>Follow up IRF meeting and IOGP/IADC input to IRF October </a:t>
          </a:r>
        </a:p>
      </dgm:t>
    </dgm:pt>
    <dgm:pt modelId="{653FD91F-548D-430F-94F4-6FDAD20C7BE5}" type="parTrans" cxnId="{198A5672-AFD5-4D32-8A40-C0EC62DEAECC}">
      <dgm:prSet/>
      <dgm:spPr/>
      <dgm:t>
        <a:bodyPr/>
        <a:lstStyle/>
        <a:p>
          <a:endParaRPr lang="en-US"/>
        </a:p>
      </dgm:t>
    </dgm:pt>
    <dgm:pt modelId="{6A89EEE8-0835-4166-97B5-1B244C257612}" type="sibTrans" cxnId="{198A5672-AFD5-4D32-8A40-C0EC62DEAECC}">
      <dgm:prSet/>
      <dgm:spPr/>
      <dgm:t>
        <a:bodyPr/>
        <a:lstStyle/>
        <a:p>
          <a:endParaRPr lang="en-US"/>
        </a:p>
      </dgm:t>
    </dgm:pt>
    <dgm:pt modelId="{1F7B1D12-585A-4AFB-966C-E5FD28611AE4}">
      <dgm:prSet/>
      <dgm:spPr>
        <a:ln>
          <a:solidFill>
            <a:schemeClr val="accent6"/>
          </a:solidFill>
        </a:ln>
      </dgm:spPr>
      <dgm:t>
        <a:bodyPr/>
        <a:lstStyle/>
        <a:p>
          <a:r>
            <a:rPr lang="en-US"/>
            <a:t>Decision to refine PS with more specific focus </a:t>
          </a:r>
        </a:p>
      </dgm:t>
    </dgm:pt>
    <dgm:pt modelId="{0B7F6DC5-116C-4B6D-93B3-A8989C0E6F3E}" type="parTrans" cxnId="{F8905785-6FDB-450E-BF8D-3CF52DF8B113}">
      <dgm:prSet/>
      <dgm:spPr/>
      <dgm:t>
        <a:bodyPr/>
        <a:lstStyle/>
        <a:p>
          <a:endParaRPr lang="en-US"/>
        </a:p>
      </dgm:t>
    </dgm:pt>
    <dgm:pt modelId="{66EB56C4-B293-4331-9773-4F2E46D14A12}" type="sibTrans" cxnId="{F8905785-6FDB-450E-BF8D-3CF52DF8B113}">
      <dgm:prSet/>
      <dgm:spPr/>
      <dgm:t>
        <a:bodyPr/>
        <a:lstStyle/>
        <a:p>
          <a:endParaRPr lang="en-US"/>
        </a:p>
      </dgm:t>
    </dgm:pt>
    <dgm:pt modelId="{841ABE56-F7FB-4CDC-A7C5-40FB6378F7CF}">
      <dgm:prSet/>
      <dgm:spPr>
        <a:ln>
          <a:solidFill>
            <a:schemeClr val="accent6"/>
          </a:solidFill>
        </a:ln>
      </dgm:spPr>
      <dgm:t>
        <a:bodyPr/>
        <a:lstStyle/>
        <a:p>
          <a:r>
            <a:rPr lang="en-US"/>
            <a:t>Various activities in IOGP and continued IADC committee efforts</a:t>
          </a:r>
        </a:p>
      </dgm:t>
    </dgm:pt>
    <dgm:pt modelId="{CDD55445-9FA7-41D1-AC3A-C12340AFE784}" type="parTrans" cxnId="{F5825B57-2681-47B0-AFEB-A2371FA12397}">
      <dgm:prSet/>
      <dgm:spPr/>
      <dgm:t>
        <a:bodyPr/>
        <a:lstStyle/>
        <a:p>
          <a:endParaRPr lang="en-US"/>
        </a:p>
      </dgm:t>
    </dgm:pt>
    <dgm:pt modelId="{A734EFDB-D84F-4B73-B404-F702E3FDEC2B}" type="sibTrans" cxnId="{F5825B57-2681-47B0-AFEB-A2371FA12397}">
      <dgm:prSet/>
      <dgm:spPr/>
      <dgm:t>
        <a:bodyPr/>
        <a:lstStyle/>
        <a:p>
          <a:endParaRPr lang="en-US"/>
        </a:p>
      </dgm:t>
    </dgm:pt>
    <dgm:pt modelId="{6464FB76-5205-4D29-A49E-FAC3FA85F532}">
      <dgm:prSet/>
      <dgm:spPr/>
      <dgm:t>
        <a:bodyPr/>
        <a:lstStyle/>
        <a:p>
          <a:pPr>
            <a:defRPr b="1"/>
          </a:pPr>
          <a:r>
            <a:rPr lang="en-US"/>
            <a:t>2021</a:t>
          </a:r>
        </a:p>
      </dgm:t>
    </dgm:pt>
    <dgm:pt modelId="{A1157EDC-A1E2-4C74-A77B-5100752149BC}" type="parTrans" cxnId="{57FBCCFA-D5B8-4A83-BAC3-218ED35109D4}">
      <dgm:prSet/>
      <dgm:spPr/>
      <dgm:t>
        <a:bodyPr/>
        <a:lstStyle/>
        <a:p>
          <a:endParaRPr lang="en-US"/>
        </a:p>
      </dgm:t>
    </dgm:pt>
    <dgm:pt modelId="{555276C3-C8C0-4866-9835-307274CE10E9}" type="sibTrans" cxnId="{57FBCCFA-D5B8-4A83-BAC3-218ED35109D4}">
      <dgm:prSet/>
      <dgm:spPr/>
      <dgm:t>
        <a:bodyPr/>
        <a:lstStyle/>
        <a:p>
          <a:endParaRPr lang="en-US"/>
        </a:p>
      </dgm:t>
    </dgm:pt>
    <dgm:pt modelId="{2A6F19DB-AA0B-4F4A-8EED-9FB54B02E368}">
      <dgm:prSet/>
      <dgm:spPr/>
      <dgm:t>
        <a:bodyPr/>
        <a:lstStyle/>
        <a:p>
          <a:r>
            <a:rPr lang="en-US"/>
            <a:t>Kick off framing meeting with IRF/IADC/IOGP. Feb 2021 </a:t>
          </a:r>
        </a:p>
      </dgm:t>
    </dgm:pt>
    <dgm:pt modelId="{742217E0-DC90-4FE7-955D-282741453AFE}" type="parTrans" cxnId="{4C0D35D8-E1B1-4825-AE2E-8C5B33F07746}">
      <dgm:prSet/>
      <dgm:spPr/>
      <dgm:t>
        <a:bodyPr/>
        <a:lstStyle/>
        <a:p>
          <a:endParaRPr lang="en-US"/>
        </a:p>
      </dgm:t>
    </dgm:pt>
    <dgm:pt modelId="{70EA8217-5614-4618-B4A5-2B514F62E139}" type="sibTrans" cxnId="{4C0D35D8-E1B1-4825-AE2E-8C5B33F07746}">
      <dgm:prSet/>
      <dgm:spPr/>
      <dgm:t>
        <a:bodyPr/>
        <a:lstStyle/>
        <a:p>
          <a:endParaRPr lang="en-US"/>
        </a:p>
      </dgm:t>
    </dgm:pt>
    <dgm:pt modelId="{5DAC70E1-5248-4911-BBDD-3E73ABB4B00E}">
      <dgm:prSet/>
      <dgm:spPr/>
      <dgm:t>
        <a:bodyPr/>
        <a:lstStyle/>
        <a:p>
          <a:r>
            <a:rPr lang="en-US"/>
            <a:t>New version of PS drafted incorporating feedback from IRF members, IOGP and IADC</a:t>
          </a:r>
        </a:p>
      </dgm:t>
    </dgm:pt>
    <dgm:pt modelId="{3B27E2A3-2E05-4886-96A2-E2D65AE163F9}" type="parTrans" cxnId="{DABC98FD-2CA7-4503-904C-55A445F590EC}">
      <dgm:prSet/>
      <dgm:spPr/>
      <dgm:t>
        <a:bodyPr/>
        <a:lstStyle/>
        <a:p>
          <a:endParaRPr lang="en-US"/>
        </a:p>
      </dgm:t>
    </dgm:pt>
    <dgm:pt modelId="{480B5738-8C43-4799-A85E-1EA29FE7828D}" type="sibTrans" cxnId="{DABC98FD-2CA7-4503-904C-55A445F590EC}">
      <dgm:prSet/>
      <dgm:spPr/>
      <dgm:t>
        <a:bodyPr/>
        <a:lstStyle/>
        <a:p>
          <a:endParaRPr lang="en-US"/>
        </a:p>
      </dgm:t>
    </dgm:pt>
    <dgm:pt modelId="{4C5825A6-96F6-46F1-8D5A-2BA355CFE644}">
      <dgm:prSet/>
      <dgm:spPr/>
      <dgm:t>
        <a:bodyPr/>
        <a:lstStyle/>
        <a:p>
          <a:r>
            <a:rPr lang="en-US"/>
            <a:t>Follow up meetings IOGP, IADC and IRF</a:t>
          </a:r>
        </a:p>
      </dgm:t>
    </dgm:pt>
    <dgm:pt modelId="{38FF1CB2-5BFE-47E8-B5ED-ED9053C74C08}" type="parTrans" cxnId="{099C9D8A-A76A-480D-A312-D0C1ED512AB4}">
      <dgm:prSet/>
      <dgm:spPr/>
      <dgm:t>
        <a:bodyPr/>
        <a:lstStyle/>
        <a:p>
          <a:endParaRPr lang="en-US"/>
        </a:p>
      </dgm:t>
    </dgm:pt>
    <dgm:pt modelId="{37051C3E-39A7-4A05-BA97-249B9FDB2ED2}" type="sibTrans" cxnId="{099C9D8A-A76A-480D-A312-D0C1ED512AB4}">
      <dgm:prSet/>
      <dgm:spPr/>
      <dgm:t>
        <a:bodyPr/>
        <a:lstStyle/>
        <a:p>
          <a:endParaRPr lang="en-US"/>
        </a:p>
      </dgm:t>
    </dgm:pt>
    <dgm:pt modelId="{E4CD2CCB-EF32-42B5-B3C6-FCAC2A6B9C66}">
      <dgm:prSet/>
      <dgm:spPr/>
      <dgm:t>
        <a:bodyPr/>
        <a:lstStyle/>
        <a:p>
          <a:r>
            <a:rPr lang="en-US"/>
            <a:t>PS published on IRFs webpages</a:t>
          </a:r>
        </a:p>
      </dgm:t>
    </dgm:pt>
    <dgm:pt modelId="{BFDDBF3C-1A05-4608-8DCA-F8D402A9AC05}" type="parTrans" cxnId="{E5BADB06-61BD-408D-909B-94762D2031F6}">
      <dgm:prSet/>
      <dgm:spPr/>
      <dgm:t>
        <a:bodyPr/>
        <a:lstStyle/>
        <a:p>
          <a:endParaRPr lang="en-US"/>
        </a:p>
      </dgm:t>
    </dgm:pt>
    <dgm:pt modelId="{5AE46BDF-E021-424E-80B8-D28FB81CB673}" type="sibTrans" cxnId="{E5BADB06-61BD-408D-909B-94762D2031F6}">
      <dgm:prSet/>
      <dgm:spPr/>
      <dgm:t>
        <a:bodyPr/>
        <a:lstStyle/>
        <a:p>
          <a:endParaRPr lang="en-US"/>
        </a:p>
      </dgm:t>
    </dgm:pt>
    <dgm:pt modelId="{A12F6F0B-2744-4C38-8882-154C41FBE9A9}" type="pres">
      <dgm:prSet presAssocID="{642A9B70-0F81-45F8-84D4-A2C3B90880B5}" presName="root" presStyleCnt="0">
        <dgm:presLayoutVars>
          <dgm:chMax/>
          <dgm:chPref/>
          <dgm:animLvl val="lvl"/>
        </dgm:presLayoutVars>
      </dgm:prSet>
      <dgm:spPr/>
      <dgm:t>
        <a:bodyPr/>
        <a:lstStyle/>
        <a:p>
          <a:endParaRPr lang="en-US"/>
        </a:p>
      </dgm:t>
    </dgm:pt>
    <dgm:pt modelId="{D97A2FFF-BDA7-42AF-B01B-15E1F2AC4EA1}" type="pres">
      <dgm:prSet presAssocID="{642A9B70-0F81-45F8-84D4-A2C3B90880B5}" presName="divider" presStyleLbl="fgAccFollowNode1" presStyleIdx="0" presStyleCnt="1"/>
      <dgm:spPr>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tailEnd type="triangle" w="lg" len="lg"/>
        </a:ln>
        <a:effectLst/>
      </dgm:spPr>
    </dgm:pt>
    <dgm:pt modelId="{E0C459CE-D09A-4A98-AD69-C1F205D1125E}" type="pres">
      <dgm:prSet presAssocID="{642A9B70-0F81-45F8-84D4-A2C3B90880B5}" presName="nodes" presStyleCnt="0">
        <dgm:presLayoutVars>
          <dgm:chMax/>
          <dgm:chPref/>
          <dgm:animLvl val="lvl"/>
        </dgm:presLayoutVars>
      </dgm:prSet>
      <dgm:spPr/>
    </dgm:pt>
    <dgm:pt modelId="{D4B1734B-3DAA-434D-B4C5-222A5462A706}" type="pres">
      <dgm:prSet presAssocID="{DD6709C0-CF66-44C7-8A87-FFB42F7B503B}" presName="composite" presStyleCnt="0"/>
      <dgm:spPr/>
    </dgm:pt>
    <dgm:pt modelId="{697D0453-E613-46C6-BDF6-EAE2C99F179B}" type="pres">
      <dgm:prSet presAssocID="{DD6709C0-CF66-44C7-8A87-FFB42F7B503B}" presName="L1TextContainer" presStyleLbl="revTx" presStyleIdx="0" presStyleCnt="3">
        <dgm:presLayoutVars>
          <dgm:chMax val="1"/>
          <dgm:chPref val="1"/>
          <dgm:bulletEnabled val="1"/>
        </dgm:presLayoutVars>
      </dgm:prSet>
      <dgm:spPr/>
      <dgm:t>
        <a:bodyPr/>
        <a:lstStyle/>
        <a:p>
          <a:endParaRPr lang="en-US"/>
        </a:p>
      </dgm:t>
    </dgm:pt>
    <dgm:pt modelId="{D46E4D07-7B6E-41F3-844E-F6664F69FAB4}" type="pres">
      <dgm:prSet presAssocID="{DD6709C0-CF66-44C7-8A87-FFB42F7B503B}" presName="L2TextContainerWrapper" presStyleCnt="0">
        <dgm:presLayoutVars>
          <dgm:chMax val="0"/>
          <dgm:chPref val="0"/>
          <dgm:bulletEnabled val="1"/>
        </dgm:presLayoutVars>
      </dgm:prSet>
      <dgm:spPr/>
    </dgm:pt>
    <dgm:pt modelId="{A42AEB13-8A56-4D3E-90D6-51B9E997C53C}" type="pres">
      <dgm:prSet presAssocID="{DD6709C0-CF66-44C7-8A87-FFB42F7B503B}" presName="L2TextContainer" presStyleLbl="bgAcc1" presStyleIdx="0" presStyleCnt="3" custScaleY="130872" custLinFactNeighborX="-217" custLinFactNeighborY="-12219"/>
      <dgm:spPr/>
      <dgm:t>
        <a:bodyPr/>
        <a:lstStyle/>
        <a:p>
          <a:endParaRPr lang="en-US"/>
        </a:p>
      </dgm:t>
    </dgm:pt>
    <dgm:pt modelId="{57E76716-4ABD-4598-97E4-0AE5C5332589}" type="pres">
      <dgm:prSet presAssocID="{DD6709C0-CF66-44C7-8A87-FFB42F7B503B}" presName="FlexibleEmptyPlaceHolder" presStyleCnt="0"/>
      <dgm:spPr/>
    </dgm:pt>
    <dgm:pt modelId="{C75EF24F-EC79-4C9B-9CA1-FF9BCB46E488}" type="pres">
      <dgm:prSet presAssocID="{DD6709C0-CF66-44C7-8A87-FFB42F7B503B}" presName="ConnectLine" presStyleLbl="sibTrans1D1" presStyleIdx="0" presStyleCnt="3"/>
      <dgm:spPr>
        <a:noFill/>
        <a:ln w="6350" cap="flat" cmpd="sng" algn="ctr">
          <a:solidFill>
            <a:schemeClr val="accent2"/>
          </a:solidFill>
          <a:prstDash val="dash"/>
          <a:miter lim="800000"/>
        </a:ln>
        <a:effectLst/>
      </dgm:spPr>
    </dgm:pt>
    <dgm:pt modelId="{70B493A5-2EE4-45B5-A68E-005D71F34732}" type="pres">
      <dgm:prSet presAssocID="{DD6709C0-CF66-44C7-8A87-FFB42F7B503B}" presName="ConnectorPoint" presStyleLbl="alignNode1" presStyleIdx="0" presStyleCnt="3"/>
      <dgm:spPr>
        <a:solidFill>
          <a:schemeClr val="accent2"/>
        </a:solidFill>
        <a:ln>
          <a:solidFill>
            <a:schemeClr val="accent2"/>
          </a:solidFill>
        </a:ln>
      </dgm:spPr>
    </dgm:pt>
    <dgm:pt modelId="{36D03949-214A-4139-9208-A2BEAE062E33}" type="pres">
      <dgm:prSet presAssocID="{DD6709C0-CF66-44C7-8A87-FFB42F7B503B}" presName="EmptyPlaceHolder" presStyleCnt="0"/>
      <dgm:spPr/>
    </dgm:pt>
    <dgm:pt modelId="{558EFDC0-8E1B-4197-8028-D27584FB31C0}" type="pres">
      <dgm:prSet presAssocID="{5A5A0D08-F273-4DEF-BF39-B94979BCE1E9}" presName="spaceBetweenRectangles" presStyleCnt="0"/>
      <dgm:spPr/>
    </dgm:pt>
    <dgm:pt modelId="{F8087569-BE79-4D0B-B9FB-584BBF9D7F73}" type="pres">
      <dgm:prSet presAssocID="{FD98200B-8F2A-4FF3-ACBF-B2865E579631}" presName="composite" presStyleCnt="0"/>
      <dgm:spPr/>
    </dgm:pt>
    <dgm:pt modelId="{53EC5873-EF3E-4211-9115-587D42A92DB5}" type="pres">
      <dgm:prSet presAssocID="{FD98200B-8F2A-4FF3-ACBF-B2865E579631}" presName="L1TextContainer" presStyleLbl="revTx" presStyleIdx="1" presStyleCnt="3">
        <dgm:presLayoutVars>
          <dgm:chMax val="1"/>
          <dgm:chPref val="1"/>
          <dgm:bulletEnabled val="1"/>
        </dgm:presLayoutVars>
      </dgm:prSet>
      <dgm:spPr/>
      <dgm:t>
        <a:bodyPr/>
        <a:lstStyle/>
        <a:p>
          <a:endParaRPr lang="en-US"/>
        </a:p>
      </dgm:t>
    </dgm:pt>
    <dgm:pt modelId="{D85785A7-6139-4C90-BCA3-CBBE3D640EB2}" type="pres">
      <dgm:prSet presAssocID="{FD98200B-8F2A-4FF3-ACBF-B2865E579631}" presName="L2TextContainerWrapper" presStyleCnt="0">
        <dgm:presLayoutVars>
          <dgm:chMax val="0"/>
          <dgm:chPref val="0"/>
          <dgm:bulletEnabled val="1"/>
        </dgm:presLayoutVars>
      </dgm:prSet>
      <dgm:spPr/>
    </dgm:pt>
    <dgm:pt modelId="{851EBA3E-98A1-4D32-B3D3-728BC5ABD014}" type="pres">
      <dgm:prSet presAssocID="{FD98200B-8F2A-4FF3-ACBF-B2865E579631}" presName="L2TextContainer" presStyleLbl="bgAcc1" presStyleIdx="1" presStyleCnt="3"/>
      <dgm:spPr/>
      <dgm:t>
        <a:bodyPr/>
        <a:lstStyle/>
        <a:p>
          <a:endParaRPr lang="en-US"/>
        </a:p>
      </dgm:t>
    </dgm:pt>
    <dgm:pt modelId="{67CC8FBF-D7E9-4526-AB6C-D7BC04C30F7A}" type="pres">
      <dgm:prSet presAssocID="{FD98200B-8F2A-4FF3-ACBF-B2865E579631}" presName="FlexibleEmptyPlaceHolder" presStyleCnt="0"/>
      <dgm:spPr/>
    </dgm:pt>
    <dgm:pt modelId="{A9963AC1-7DBA-49E6-ADF7-E776133890A6}" type="pres">
      <dgm:prSet presAssocID="{FD98200B-8F2A-4FF3-ACBF-B2865E579631}" presName="ConnectLine" presStyleLbl="sibTrans1D1" presStyleIdx="1" presStyleCnt="3"/>
      <dgm:spPr>
        <a:noFill/>
        <a:ln w="6350" cap="flat" cmpd="sng" algn="ctr">
          <a:solidFill>
            <a:schemeClr val="accent6"/>
          </a:solidFill>
          <a:prstDash val="dash"/>
          <a:miter lim="800000"/>
        </a:ln>
        <a:effectLst/>
      </dgm:spPr>
    </dgm:pt>
    <dgm:pt modelId="{EAE8ED86-A30B-4EA7-B4BE-58C7821CBC75}" type="pres">
      <dgm:prSet presAssocID="{FD98200B-8F2A-4FF3-ACBF-B2865E579631}" presName="ConnectorPoint" presStyleLbl="alignNode1" presStyleIdx="1" presStyleCnt="3"/>
      <dgm:spPr>
        <a:solidFill>
          <a:schemeClr val="accent6"/>
        </a:solidFill>
        <a:ln>
          <a:solidFill>
            <a:schemeClr val="accent6"/>
          </a:solidFill>
        </a:ln>
      </dgm:spPr>
    </dgm:pt>
    <dgm:pt modelId="{7F6CC821-7E55-4D16-9F98-4B285DB9911A}" type="pres">
      <dgm:prSet presAssocID="{FD98200B-8F2A-4FF3-ACBF-B2865E579631}" presName="EmptyPlaceHolder" presStyleCnt="0"/>
      <dgm:spPr/>
    </dgm:pt>
    <dgm:pt modelId="{A65B2B8B-809E-42EF-A2C6-955AB0FC52D9}" type="pres">
      <dgm:prSet presAssocID="{089F1CCF-8379-40DF-AB3F-4FD60466F630}" presName="spaceBetweenRectangles" presStyleCnt="0"/>
      <dgm:spPr/>
    </dgm:pt>
    <dgm:pt modelId="{7CA4462B-4B09-44BA-8FBE-8E7AC8828B10}" type="pres">
      <dgm:prSet presAssocID="{6464FB76-5205-4D29-A49E-FAC3FA85F532}" presName="composite" presStyleCnt="0"/>
      <dgm:spPr/>
    </dgm:pt>
    <dgm:pt modelId="{7E2AA916-5B56-4100-8264-C4AB0B4F5781}" type="pres">
      <dgm:prSet presAssocID="{6464FB76-5205-4D29-A49E-FAC3FA85F532}" presName="L1TextContainer" presStyleLbl="revTx" presStyleIdx="2" presStyleCnt="3">
        <dgm:presLayoutVars>
          <dgm:chMax val="1"/>
          <dgm:chPref val="1"/>
          <dgm:bulletEnabled val="1"/>
        </dgm:presLayoutVars>
      </dgm:prSet>
      <dgm:spPr/>
      <dgm:t>
        <a:bodyPr/>
        <a:lstStyle/>
        <a:p>
          <a:endParaRPr lang="en-US"/>
        </a:p>
      </dgm:t>
    </dgm:pt>
    <dgm:pt modelId="{37C1CF0D-C08A-4E68-8C2C-E704D486961F}" type="pres">
      <dgm:prSet presAssocID="{6464FB76-5205-4D29-A49E-FAC3FA85F532}" presName="L2TextContainerWrapper" presStyleCnt="0">
        <dgm:presLayoutVars>
          <dgm:chMax val="0"/>
          <dgm:chPref val="0"/>
          <dgm:bulletEnabled val="1"/>
        </dgm:presLayoutVars>
      </dgm:prSet>
      <dgm:spPr/>
    </dgm:pt>
    <dgm:pt modelId="{3D146A93-2725-4565-ADE9-2D05979D84BA}" type="pres">
      <dgm:prSet presAssocID="{6464FB76-5205-4D29-A49E-FAC3FA85F532}" presName="L2TextContainer" presStyleLbl="bgAcc1" presStyleIdx="2" presStyleCnt="3"/>
      <dgm:spPr/>
      <dgm:t>
        <a:bodyPr/>
        <a:lstStyle/>
        <a:p>
          <a:endParaRPr lang="en-US"/>
        </a:p>
      </dgm:t>
    </dgm:pt>
    <dgm:pt modelId="{CD0D2F4C-4D66-45BB-87AE-EA0EA148C946}" type="pres">
      <dgm:prSet presAssocID="{6464FB76-5205-4D29-A49E-FAC3FA85F532}" presName="FlexibleEmptyPlaceHolder" presStyleCnt="0"/>
      <dgm:spPr/>
    </dgm:pt>
    <dgm:pt modelId="{9F201839-9040-407B-8BBD-FF7953DB03E7}" type="pres">
      <dgm:prSet presAssocID="{6464FB76-5205-4D29-A49E-FAC3FA85F532}" presName="ConnectLine" presStyleLbl="sibTrans1D1" presStyleIdx="2" presStyleCnt="3"/>
      <dgm:spPr>
        <a:noFill/>
        <a:ln w="6350" cap="flat" cmpd="sng" algn="ctr">
          <a:solidFill>
            <a:schemeClr val="accent1">
              <a:hueOff val="0"/>
              <a:satOff val="0"/>
              <a:lumOff val="0"/>
              <a:alphaOff val="0"/>
            </a:schemeClr>
          </a:solidFill>
          <a:prstDash val="dash"/>
          <a:miter lim="800000"/>
        </a:ln>
        <a:effectLst/>
      </dgm:spPr>
    </dgm:pt>
    <dgm:pt modelId="{59474704-6A5F-439E-8E11-002AF6181886}" type="pres">
      <dgm:prSet presAssocID="{6464FB76-5205-4D29-A49E-FAC3FA85F532}" presName="ConnectorPoint" presStyleLbl="alignNode1" presStyleIdx="2" presStyleCnt="3"/>
      <dgm:spPr/>
    </dgm:pt>
    <dgm:pt modelId="{163D411D-A313-4577-A29D-A9572EC73CCB}" type="pres">
      <dgm:prSet presAssocID="{6464FB76-5205-4D29-A49E-FAC3FA85F532}" presName="EmptyPlaceHolder" presStyleCnt="0"/>
      <dgm:spPr/>
    </dgm:pt>
  </dgm:ptLst>
  <dgm:cxnLst>
    <dgm:cxn modelId="{197DCC3C-F5D6-4282-88D6-130D5E2C8268}" type="presOf" srcId="{1F7B1D12-585A-4AFB-966C-E5FD28611AE4}" destId="{851EBA3E-98A1-4D32-B3D3-728BC5ABD014}" srcOrd="0" destOrd="1" presId="urn:microsoft.com/office/officeart/2016/7/layout/BasicTimeline"/>
    <dgm:cxn modelId="{19FC0C38-2430-4B49-BCA2-2BD42DC050C1}" srcId="{DD6709C0-CF66-44C7-8A87-FFB42F7B503B}" destId="{81156FF1-B294-4D85-9F0B-45A853357C7F}" srcOrd="1" destOrd="0" parTransId="{CE7565A7-AA7B-4351-8432-13B9E8E840C2}" sibTransId="{37F0C0E0-4A77-4886-8EE1-11145C3441A4}"/>
    <dgm:cxn modelId="{C757FCEB-87E9-4AC7-BE4E-AC5883CE630F}" srcId="{642A9B70-0F81-45F8-84D4-A2C3B90880B5}" destId="{DD6709C0-CF66-44C7-8A87-FFB42F7B503B}" srcOrd="0" destOrd="0" parTransId="{83770D61-2922-4463-A7BF-4DB115492D23}" sibTransId="{5A5A0D08-F273-4DEF-BF39-B94979BCE1E9}"/>
    <dgm:cxn modelId="{3462F200-E4E4-4268-BBB4-2A34E263D242}" srcId="{642A9B70-0F81-45F8-84D4-A2C3B90880B5}" destId="{FD98200B-8F2A-4FF3-ACBF-B2865E579631}" srcOrd="1" destOrd="0" parTransId="{75B757A6-A516-4821-A474-FA7A7A6B8464}" sibTransId="{089F1CCF-8379-40DF-AB3F-4FD60466F630}"/>
    <dgm:cxn modelId="{3204545D-1A1B-4742-B5D0-A69013A4D474}" type="presOf" srcId="{4C5825A6-96F6-46F1-8D5A-2BA355CFE644}" destId="{3D146A93-2725-4565-ADE9-2D05979D84BA}" srcOrd="0" destOrd="2" presId="urn:microsoft.com/office/officeart/2016/7/layout/BasicTimeline"/>
    <dgm:cxn modelId="{F8905785-6FDB-450E-BF8D-3CF52DF8B113}" srcId="{FD98200B-8F2A-4FF3-ACBF-B2865E579631}" destId="{1F7B1D12-585A-4AFB-966C-E5FD28611AE4}" srcOrd="1" destOrd="0" parTransId="{0B7F6DC5-116C-4B6D-93B3-A8989C0E6F3E}" sibTransId="{66EB56C4-B293-4331-9773-4F2E46D14A12}"/>
    <dgm:cxn modelId="{6EDFAA8E-2BD1-4240-AD87-EBE66C964B10}" type="presOf" srcId="{841ABE56-F7FB-4CDC-A7C5-40FB6378F7CF}" destId="{851EBA3E-98A1-4D32-B3D3-728BC5ABD014}" srcOrd="0" destOrd="2" presId="urn:microsoft.com/office/officeart/2016/7/layout/BasicTimeline"/>
    <dgm:cxn modelId="{5E5D8DE0-EA82-4774-8359-39C1080FCAFF}" type="presOf" srcId="{642A9B70-0F81-45F8-84D4-A2C3B90880B5}" destId="{A12F6F0B-2744-4C38-8882-154C41FBE9A9}" srcOrd="0" destOrd="0" presId="urn:microsoft.com/office/officeart/2016/7/layout/BasicTimeline"/>
    <dgm:cxn modelId="{E8ADA3CC-5FC6-481B-A4CD-30D67D664C4F}" type="presOf" srcId="{6464FB76-5205-4D29-A49E-FAC3FA85F532}" destId="{7E2AA916-5B56-4100-8264-C4AB0B4F5781}" srcOrd="0" destOrd="0" presId="urn:microsoft.com/office/officeart/2016/7/layout/BasicTimeline"/>
    <dgm:cxn modelId="{ED1DD9E5-F37C-4442-B988-F513CE7AB23B}" type="presOf" srcId="{A908B84E-31F9-471C-A723-DC3BE0A67F4D}" destId="{A42AEB13-8A56-4D3E-90D6-51B9E997C53C}" srcOrd="0" destOrd="2" presId="urn:microsoft.com/office/officeart/2016/7/layout/BasicTimeline"/>
    <dgm:cxn modelId="{B6C3DAB9-9739-4FF0-B941-E9AE0CDA8ECE}" type="presOf" srcId="{5DAC70E1-5248-4911-BBDD-3E73ABB4B00E}" destId="{3D146A93-2725-4565-ADE9-2D05979D84BA}" srcOrd="0" destOrd="1" presId="urn:microsoft.com/office/officeart/2016/7/layout/BasicTimeline"/>
    <dgm:cxn modelId="{196F9CD4-7BF9-4B47-A8E1-0CAC9163B6D8}" type="presOf" srcId="{E4CD2CCB-EF32-42B5-B3C6-FCAC2A6B9C66}" destId="{3D146A93-2725-4565-ADE9-2D05979D84BA}" srcOrd="0" destOrd="3" presId="urn:microsoft.com/office/officeart/2016/7/layout/BasicTimeline"/>
    <dgm:cxn modelId="{60E8FD50-F492-4790-902D-7046E5B6A8B3}" type="presOf" srcId="{A9E09059-6B6A-4353-85C1-3BBFD03EE27D}" destId="{A42AEB13-8A56-4D3E-90D6-51B9E997C53C}" srcOrd="0" destOrd="0" presId="urn:microsoft.com/office/officeart/2016/7/layout/BasicTimeline"/>
    <dgm:cxn modelId="{D8A3C1A8-6902-41DC-8C0D-D20F20FE5918}" type="presOf" srcId="{2A6F19DB-AA0B-4F4A-8EED-9FB54B02E368}" destId="{3D146A93-2725-4565-ADE9-2D05979D84BA}" srcOrd="0" destOrd="0" presId="urn:microsoft.com/office/officeart/2016/7/layout/BasicTimeline"/>
    <dgm:cxn modelId="{3C258830-9E85-4007-9AB4-F95BA8D2AF17}" type="presOf" srcId="{98D50B3B-523B-49FA-8FDE-A78340A6B422}" destId="{851EBA3E-98A1-4D32-B3D3-728BC5ABD014}" srcOrd="0" destOrd="0" presId="urn:microsoft.com/office/officeart/2016/7/layout/BasicTimeline"/>
    <dgm:cxn modelId="{302DCD60-E4FF-4A39-9BC7-2A7DAD4B94C8}" srcId="{DD6709C0-CF66-44C7-8A87-FFB42F7B503B}" destId="{A9E09059-6B6A-4353-85C1-3BBFD03EE27D}" srcOrd="0" destOrd="0" parTransId="{465E33AA-80AC-4234-9093-E81CD46B9579}" sibTransId="{9190810C-F0BB-42F9-ABCF-8094E8C29807}"/>
    <dgm:cxn modelId="{E5BADB06-61BD-408D-909B-94762D2031F6}" srcId="{6464FB76-5205-4D29-A49E-FAC3FA85F532}" destId="{E4CD2CCB-EF32-42B5-B3C6-FCAC2A6B9C66}" srcOrd="3" destOrd="0" parTransId="{BFDDBF3C-1A05-4608-8DCA-F8D402A9AC05}" sibTransId="{5AE46BDF-E021-424E-80B8-D28FB81CB673}"/>
    <dgm:cxn modelId="{DABC98FD-2CA7-4503-904C-55A445F590EC}" srcId="{6464FB76-5205-4D29-A49E-FAC3FA85F532}" destId="{5DAC70E1-5248-4911-BBDD-3E73ABB4B00E}" srcOrd="1" destOrd="0" parTransId="{3B27E2A3-2E05-4886-96A2-E2D65AE163F9}" sibTransId="{480B5738-8C43-4799-A85E-1EA29FE7828D}"/>
    <dgm:cxn modelId="{758D9425-6BE3-43E8-AD52-8F07794119C4}" type="presOf" srcId="{FD98200B-8F2A-4FF3-ACBF-B2865E579631}" destId="{53EC5873-EF3E-4211-9115-587D42A92DB5}" srcOrd="0" destOrd="0" presId="urn:microsoft.com/office/officeart/2016/7/layout/BasicTimeline"/>
    <dgm:cxn modelId="{531E9F17-6E9A-42C8-A829-71C8629A71CB}" type="presOf" srcId="{81156FF1-B294-4D85-9F0B-45A853357C7F}" destId="{A42AEB13-8A56-4D3E-90D6-51B9E997C53C}" srcOrd="0" destOrd="1" presId="urn:microsoft.com/office/officeart/2016/7/layout/BasicTimeline"/>
    <dgm:cxn modelId="{D930DFA7-401E-4C8B-AC0B-C0692AED9586}" type="presOf" srcId="{DD6709C0-CF66-44C7-8A87-FFB42F7B503B}" destId="{697D0453-E613-46C6-BDF6-EAE2C99F179B}" srcOrd="0" destOrd="0" presId="urn:microsoft.com/office/officeart/2016/7/layout/BasicTimeline"/>
    <dgm:cxn modelId="{57FBCCFA-D5B8-4A83-BAC3-218ED35109D4}" srcId="{642A9B70-0F81-45F8-84D4-A2C3B90880B5}" destId="{6464FB76-5205-4D29-A49E-FAC3FA85F532}" srcOrd="2" destOrd="0" parTransId="{A1157EDC-A1E2-4C74-A77B-5100752149BC}" sibTransId="{555276C3-C8C0-4866-9835-307274CE10E9}"/>
    <dgm:cxn modelId="{2AAD44D3-0B74-471A-8D09-D8C85AAB3110}" srcId="{DD6709C0-CF66-44C7-8A87-FFB42F7B503B}" destId="{A908B84E-31F9-471C-A723-DC3BE0A67F4D}" srcOrd="2" destOrd="0" parTransId="{6F08B3FE-E640-46A8-82FA-9012FC135836}" sibTransId="{89D46AF4-59DD-4ACE-9E9A-1A73E0C03FAB}"/>
    <dgm:cxn modelId="{4C0D35D8-E1B1-4825-AE2E-8C5B33F07746}" srcId="{6464FB76-5205-4D29-A49E-FAC3FA85F532}" destId="{2A6F19DB-AA0B-4F4A-8EED-9FB54B02E368}" srcOrd="0" destOrd="0" parTransId="{742217E0-DC90-4FE7-955D-282741453AFE}" sibTransId="{70EA8217-5614-4618-B4A5-2B514F62E139}"/>
    <dgm:cxn modelId="{198A5672-AFD5-4D32-8A40-C0EC62DEAECC}" srcId="{FD98200B-8F2A-4FF3-ACBF-B2865E579631}" destId="{98D50B3B-523B-49FA-8FDE-A78340A6B422}" srcOrd="0" destOrd="0" parTransId="{653FD91F-548D-430F-94F4-6FDAD20C7BE5}" sibTransId="{6A89EEE8-0835-4166-97B5-1B244C257612}"/>
    <dgm:cxn modelId="{F5825B57-2681-47B0-AFEB-A2371FA12397}" srcId="{FD98200B-8F2A-4FF3-ACBF-B2865E579631}" destId="{841ABE56-F7FB-4CDC-A7C5-40FB6378F7CF}" srcOrd="2" destOrd="0" parTransId="{CDD55445-9FA7-41D1-AC3A-C12340AFE784}" sibTransId="{A734EFDB-D84F-4B73-B404-F702E3FDEC2B}"/>
    <dgm:cxn modelId="{099C9D8A-A76A-480D-A312-D0C1ED512AB4}" srcId="{6464FB76-5205-4D29-A49E-FAC3FA85F532}" destId="{4C5825A6-96F6-46F1-8D5A-2BA355CFE644}" srcOrd="2" destOrd="0" parTransId="{38FF1CB2-5BFE-47E8-B5ED-ED9053C74C08}" sibTransId="{37051C3E-39A7-4A05-BA97-249B9FDB2ED2}"/>
    <dgm:cxn modelId="{4B070618-419F-439A-9595-A9396EF87BE6}" type="presParOf" srcId="{A12F6F0B-2744-4C38-8882-154C41FBE9A9}" destId="{D97A2FFF-BDA7-42AF-B01B-15E1F2AC4EA1}" srcOrd="0" destOrd="0" presId="urn:microsoft.com/office/officeart/2016/7/layout/BasicTimeline"/>
    <dgm:cxn modelId="{8490B7A0-0D93-48DF-AE65-86AAC3920F32}" type="presParOf" srcId="{A12F6F0B-2744-4C38-8882-154C41FBE9A9}" destId="{E0C459CE-D09A-4A98-AD69-C1F205D1125E}" srcOrd="1" destOrd="0" presId="urn:microsoft.com/office/officeart/2016/7/layout/BasicTimeline"/>
    <dgm:cxn modelId="{37DFD6F9-DBF1-4DBA-8F9C-773B3304A98D}" type="presParOf" srcId="{E0C459CE-D09A-4A98-AD69-C1F205D1125E}" destId="{D4B1734B-3DAA-434D-B4C5-222A5462A706}" srcOrd="0" destOrd="0" presId="urn:microsoft.com/office/officeart/2016/7/layout/BasicTimeline"/>
    <dgm:cxn modelId="{72427143-0DAD-42B9-94CE-E9B4E9329C05}" type="presParOf" srcId="{D4B1734B-3DAA-434D-B4C5-222A5462A706}" destId="{697D0453-E613-46C6-BDF6-EAE2C99F179B}" srcOrd="0" destOrd="0" presId="urn:microsoft.com/office/officeart/2016/7/layout/BasicTimeline"/>
    <dgm:cxn modelId="{541A370A-5A08-48F2-B555-AB7F3AFACF87}" type="presParOf" srcId="{D4B1734B-3DAA-434D-B4C5-222A5462A706}" destId="{D46E4D07-7B6E-41F3-844E-F6664F69FAB4}" srcOrd="1" destOrd="0" presId="urn:microsoft.com/office/officeart/2016/7/layout/BasicTimeline"/>
    <dgm:cxn modelId="{7EDAA0AD-DFAB-46AA-B84E-B4DDF550E95E}" type="presParOf" srcId="{D46E4D07-7B6E-41F3-844E-F6664F69FAB4}" destId="{A42AEB13-8A56-4D3E-90D6-51B9E997C53C}" srcOrd="0" destOrd="0" presId="urn:microsoft.com/office/officeart/2016/7/layout/BasicTimeline"/>
    <dgm:cxn modelId="{2773A244-8CF9-449D-9F55-A9835A344009}" type="presParOf" srcId="{D46E4D07-7B6E-41F3-844E-F6664F69FAB4}" destId="{57E76716-4ABD-4598-97E4-0AE5C5332589}" srcOrd="1" destOrd="0" presId="urn:microsoft.com/office/officeart/2016/7/layout/BasicTimeline"/>
    <dgm:cxn modelId="{CEF293E7-DDBC-47B3-B7CF-D34889FE8CE4}" type="presParOf" srcId="{D4B1734B-3DAA-434D-B4C5-222A5462A706}" destId="{C75EF24F-EC79-4C9B-9CA1-FF9BCB46E488}" srcOrd="2" destOrd="0" presId="urn:microsoft.com/office/officeart/2016/7/layout/BasicTimeline"/>
    <dgm:cxn modelId="{95CC63A6-DBEF-4D24-816C-27355386E261}" type="presParOf" srcId="{D4B1734B-3DAA-434D-B4C5-222A5462A706}" destId="{70B493A5-2EE4-45B5-A68E-005D71F34732}" srcOrd="3" destOrd="0" presId="urn:microsoft.com/office/officeart/2016/7/layout/BasicTimeline"/>
    <dgm:cxn modelId="{8C30C93B-5BC4-4AAA-9C2A-8C53FE55FC76}" type="presParOf" srcId="{D4B1734B-3DAA-434D-B4C5-222A5462A706}" destId="{36D03949-214A-4139-9208-A2BEAE062E33}" srcOrd="4" destOrd="0" presId="urn:microsoft.com/office/officeart/2016/7/layout/BasicTimeline"/>
    <dgm:cxn modelId="{3D97BC7C-3B5A-4CDA-AD08-D24C3B384A69}" type="presParOf" srcId="{E0C459CE-D09A-4A98-AD69-C1F205D1125E}" destId="{558EFDC0-8E1B-4197-8028-D27584FB31C0}" srcOrd="1" destOrd="0" presId="urn:microsoft.com/office/officeart/2016/7/layout/BasicTimeline"/>
    <dgm:cxn modelId="{1C6667BC-1677-41B9-AFC2-E99144A5809E}" type="presParOf" srcId="{E0C459CE-D09A-4A98-AD69-C1F205D1125E}" destId="{F8087569-BE79-4D0B-B9FB-584BBF9D7F73}" srcOrd="2" destOrd="0" presId="urn:microsoft.com/office/officeart/2016/7/layout/BasicTimeline"/>
    <dgm:cxn modelId="{27F20AB8-0F10-4CF7-9452-F8B6A85EC456}" type="presParOf" srcId="{F8087569-BE79-4D0B-B9FB-584BBF9D7F73}" destId="{53EC5873-EF3E-4211-9115-587D42A92DB5}" srcOrd="0" destOrd="0" presId="urn:microsoft.com/office/officeart/2016/7/layout/BasicTimeline"/>
    <dgm:cxn modelId="{F32047FF-524F-4833-A85E-7A639D2644CC}" type="presParOf" srcId="{F8087569-BE79-4D0B-B9FB-584BBF9D7F73}" destId="{D85785A7-6139-4C90-BCA3-CBBE3D640EB2}" srcOrd="1" destOrd="0" presId="urn:microsoft.com/office/officeart/2016/7/layout/BasicTimeline"/>
    <dgm:cxn modelId="{038DBD78-A44E-4F8A-8822-CB9920D5290D}" type="presParOf" srcId="{D85785A7-6139-4C90-BCA3-CBBE3D640EB2}" destId="{851EBA3E-98A1-4D32-B3D3-728BC5ABD014}" srcOrd="0" destOrd="0" presId="urn:microsoft.com/office/officeart/2016/7/layout/BasicTimeline"/>
    <dgm:cxn modelId="{AC476A81-BBB0-45F6-B655-2C9D04B29C8C}" type="presParOf" srcId="{D85785A7-6139-4C90-BCA3-CBBE3D640EB2}" destId="{67CC8FBF-D7E9-4526-AB6C-D7BC04C30F7A}" srcOrd="1" destOrd="0" presId="urn:microsoft.com/office/officeart/2016/7/layout/BasicTimeline"/>
    <dgm:cxn modelId="{33938C38-1BF8-4430-B074-D5E42E831ECA}" type="presParOf" srcId="{F8087569-BE79-4D0B-B9FB-584BBF9D7F73}" destId="{A9963AC1-7DBA-49E6-ADF7-E776133890A6}" srcOrd="2" destOrd="0" presId="urn:microsoft.com/office/officeart/2016/7/layout/BasicTimeline"/>
    <dgm:cxn modelId="{CD07CC1C-886B-40D8-BF05-D289AEF151F7}" type="presParOf" srcId="{F8087569-BE79-4D0B-B9FB-584BBF9D7F73}" destId="{EAE8ED86-A30B-4EA7-B4BE-58C7821CBC75}" srcOrd="3" destOrd="0" presId="urn:microsoft.com/office/officeart/2016/7/layout/BasicTimeline"/>
    <dgm:cxn modelId="{CB3BDD76-FC8B-4F03-8401-05E760D0560D}" type="presParOf" srcId="{F8087569-BE79-4D0B-B9FB-584BBF9D7F73}" destId="{7F6CC821-7E55-4D16-9F98-4B285DB9911A}" srcOrd="4" destOrd="0" presId="urn:microsoft.com/office/officeart/2016/7/layout/BasicTimeline"/>
    <dgm:cxn modelId="{386545BD-E382-4D8F-9580-0B05E510F191}" type="presParOf" srcId="{E0C459CE-D09A-4A98-AD69-C1F205D1125E}" destId="{A65B2B8B-809E-42EF-A2C6-955AB0FC52D9}" srcOrd="3" destOrd="0" presId="urn:microsoft.com/office/officeart/2016/7/layout/BasicTimeline"/>
    <dgm:cxn modelId="{3B761414-A3D2-4BB4-BC06-29B30679CA48}" type="presParOf" srcId="{E0C459CE-D09A-4A98-AD69-C1F205D1125E}" destId="{7CA4462B-4B09-44BA-8FBE-8E7AC8828B10}" srcOrd="4" destOrd="0" presId="urn:microsoft.com/office/officeart/2016/7/layout/BasicTimeline"/>
    <dgm:cxn modelId="{ADA1A97E-F91C-4DF6-A45F-E535C04F1EC1}" type="presParOf" srcId="{7CA4462B-4B09-44BA-8FBE-8E7AC8828B10}" destId="{7E2AA916-5B56-4100-8264-C4AB0B4F5781}" srcOrd="0" destOrd="0" presId="urn:microsoft.com/office/officeart/2016/7/layout/BasicTimeline"/>
    <dgm:cxn modelId="{D570CEFE-44AA-4B95-9AFA-4F00CD9E22C4}" type="presParOf" srcId="{7CA4462B-4B09-44BA-8FBE-8E7AC8828B10}" destId="{37C1CF0D-C08A-4E68-8C2C-E704D486961F}" srcOrd="1" destOrd="0" presId="urn:microsoft.com/office/officeart/2016/7/layout/BasicTimeline"/>
    <dgm:cxn modelId="{E3E05150-86ED-4E10-84AC-24484F4605E4}" type="presParOf" srcId="{37C1CF0D-C08A-4E68-8C2C-E704D486961F}" destId="{3D146A93-2725-4565-ADE9-2D05979D84BA}" srcOrd="0" destOrd="0" presId="urn:microsoft.com/office/officeart/2016/7/layout/BasicTimeline"/>
    <dgm:cxn modelId="{908F93C0-3C07-412D-BBE4-E4B463CE5FA4}" type="presParOf" srcId="{37C1CF0D-C08A-4E68-8C2C-E704D486961F}" destId="{CD0D2F4C-4D66-45BB-87AE-EA0EA148C946}" srcOrd="1" destOrd="0" presId="urn:microsoft.com/office/officeart/2016/7/layout/BasicTimeline"/>
    <dgm:cxn modelId="{991ED6DC-38C7-4C35-9CB5-515055F3152B}" type="presParOf" srcId="{7CA4462B-4B09-44BA-8FBE-8E7AC8828B10}" destId="{9F201839-9040-407B-8BBD-FF7953DB03E7}" srcOrd="2" destOrd="0" presId="urn:microsoft.com/office/officeart/2016/7/layout/BasicTimeline"/>
    <dgm:cxn modelId="{D6C19EF0-CE7E-40DC-8548-02E8ED8E015F}" type="presParOf" srcId="{7CA4462B-4B09-44BA-8FBE-8E7AC8828B10}" destId="{59474704-6A5F-439E-8E11-002AF6181886}" srcOrd="3" destOrd="0" presId="urn:microsoft.com/office/officeart/2016/7/layout/BasicTimeline"/>
    <dgm:cxn modelId="{4682A857-CFD1-45DC-9D84-72535377DF12}" type="presParOf" srcId="{7CA4462B-4B09-44BA-8FBE-8E7AC8828B10}" destId="{163D411D-A313-4577-A29D-A9572EC73CCB}" srcOrd="4" destOrd="0" presId="urn:microsoft.com/office/officeart/2016/7/layout/Basic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7A2FFF-BDA7-42AF-B01B-15E1F2AC4EA1}">
      <dsp:nvSpPr>
        <dsp:cNvPr id="0" name=""/>
        <dsp:cNvSpPr/>
      </dsp:nvSpPr>
      <dsp:spPr>
        <a:xfrm>
          <a:off x="0" y="2006600"/>
          <a:ext cx="8846392" cy="0"/>
        </a:xfrm>
        <a:prstGeom prst="line">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697D0453-E613-46C6-BDF6-EAE2C99F179B}">
      <dsp:nvSpPr>
        <dsp:cNvPr id="0" name=""/>
        <dsp:cNvSpPr/>
      </dsp:nvSpPr>
      <dsp:spPr>
        <a:xfrm>
          <a:off x="250464" y="2195723"/>
          <a:ext cx="3600003" cy="4403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lvl="0" algn="ctr" defTabSz="622300">
            <a:lnSpc>
              <a:spcPct val="90000"/>
            </a:lnSpc>
            <a:spcBef>
              <a:spcPct val="0"/>
            </a:spcBef>
            <a:spcAft>
              <a:spcPct val="35000"/>
            </a:spcAft>
            <a:defRPr b="1"/>
          </a:pPr>
          <a:r>
            <a:rPr lang="en-US" sz="1400" kern="1200"/>
            <a:t>2019</a:t>
          </a:r>
        </a:p>
      </dsp:txBody>
      <dsp:txXfrm>
        <a:off x="250464" y="2195723"/>
        <a:ext cx="3600003" cy="440328"/>
      </dsp:txXfrm>
    </dsp:sp>
    <dsp:sp modelId="{A42AEB13-8A56-4D3E-90D6-51B9E997C53C}">
      <dsp:nvSpPr>
        <dsp:cNvPr id="0" name=""/>
        <dsp:cNvSpPr/>
      </dsp:nvSpPr>
      <dsp:spPr>
        <a:xfrm>
          <a:off x="0" y="0"/>
          <a:ext cx="4090912" cy="1316949"/>
        </a:xfrm>
        <a:prstGeom prst="roundRect">
          <a:avLst/>
        </a:prstGeom>
        <a:solidFill>
          <a:schemeClr val="lt1">
            <a:alpha val="90000"/>
            <a:hueOff val="0"/>
            <a:satOff val="0"/>
            <a:lumOff val="0"/>
            <a:alphaOff val="0"/>
          </a:schemeClr>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lvl="0" algn="l" defTabSz="533400">
            <a:lnSpc>
              <a:spcPct val="90000"/>
            </a:lnSpc>
            <a:spcBef>
              <a:spcPct val="0"/>
            </a:spcBef>
            <a:spcAft>
              <a:spcPct val="35000"/>
            </a:spcAft>
            <a:buFont typeface="Arial" panose="020B0604020202020204" pitchFamily="34" charset="0"/>
            <a:buChar char="•"/>
          </a:pPr>
          <a:r>
            <a:rPr lang="en-US" sz="1200" kern="1200">
              <a:latin typeface="Segoe UI" panose="020B0502040204020203" pitchFamily="34" charset="0"/>
              <a:cs typeface="Segoe UI" panose="020B0502040204020203" pitchFamily="34" charset="0"/>
            </a:rPr>
            <a:t>Kick off (Hague) </a:t>
          </a:r>
        </a:p>
        <a:p>
          <a:pPr lvl="0" algn="l" defTabSz="533400">
            <a:lnSpc>
              <a:spcPct val="90000"/>
            </a:lnSpc>
            <a:spcBef>
              <a:spcPct val="0"/>
            </a:spcBef>
            <a:spcAft>
              <a:spcPct val="35000"/>
            </a:spcAft>
            <a:buFont typeface="Arial" panose="020B0604020202020204" pitchFamily="34" charset="0"/>
            <a:buChar char="•"/>
          </a:pPr>
          <a:r>
            <a:rPr lang="en-US" sz="1200" kern="1200">
              <a:latin typeface="Segoe UI" panose="020B0502040204020203" pitchFamily="34" charset="0"/>
              <a:cs typeface="Segoe UI" panose="020B0502040204020203" pitchFamily="34" charset="0"/>
            </a:rPr>
            <a:t>Follow up conversations IOGP/NOPSEMA (Sydney) </a:t>
          </a:r>
        </a:p>
        <a:p>
          <a:pPr lvl="0" algn="l" defTabSz="533400">
            <a:lnSpc>
              <a:spcPct val="90000"/>
            </a:lnSpc>
            <a:spcBef>
              <a:spcPct val="0"/>
            </a:spcBef>
            <a:spcAft>
              <a:spcPct val="35000"/>
            </a:spcAft>
            <a:buFont typeface="Arial" panose="020B0604020202020204" pitchFamily="34" charset="0"/>
            <a:buChar char="•"/>
          </a:pPr>
          <a:r>
            <a:rPr lang="en-US" sz="1200" kern="1200">
              <a:latin typeface="Segoe UI" panose="020B0502040204020203" pitchFamily="34" charset="0"/>
              <a:cs typeface="Segoe UI" panose="020B0502040204020203" pitchFamily="34" charset="0"/>
            </a:rPr>
            <a:t>Initial PS drafted</a:t>
          </a:r>
        </a:p>
      </dsp:txBody>
      <dsp:txXfrm>
        <a:off x="64288" y="64288"/>
        <a:ext cx="3962336" cy="1188373"/>
      </dsp:txXfrm>
    </dsp:sp>
    <dsp:sp modelId="{C75EF24F-EC79-4C9B-9CA1-FF9BCB46E488}">
      <dsp:nvSpPr>
        <dsp:cNvPr id="0" name=""/>
        <dsp:cNvSpPr/>
      </dsp:nvSpPr>
      <dsp:spPr>
        <a:xfrm>
          <a:off x="2050466" y="1286826"/>
          <a:ext cx="0" cy="740374"/>
        </a:xfrm>
        <a:prstGeom prst="line">
          <a:avLst/>
        </a:prstGeom>
        <a:noFill/>
        <a:ln w="6350" cap="flat" cmpd="sng" algn="ctr">
          <a:solidFill>
            <a:schemeClr val="accent2"/>
          </a:solidFill>
          <a:prstDash val="dash"/>
          <a:miter lim="800000"/>
        </a:ln>
        <a:effectLst/>
      </dsp:spPr>
      <dsp:style>
        <a:lnRef idx="1">
          <a:scrgbClr r="0" g="0" b="0"/>
        </a:lnRef>
        <a:fillRef idx="0">
          <a:scrgbClr r="0" g="0" b="0"/>
        </a:fillRef>
        <a:effectRef idx="0">
          <a:scrgbClr r="0" g="0" b="0"/>
        </a:effectRef>
        <a:fontRef idx="minor"/>
      </dsp:style>
    </dsp:sp>
    <dsp:sp modelId="{53EC5873-EF3E-4211-9115-587D42A92DB5}">
      <dsp:nvSpPr>
        <dsp:cNvPr id="0" name=""/>
        <dsp:cNvSpPr/>
      </dsp:nvSpPr>
      <dsp:spPr>
        <a:xfrm>
          <a:off x="2623194" y="1404619"/>
          <a:ext cx="3600003" cy="4534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1">
          <a:noAutofit/>
        </a:bodyPr>
        <a:lstStyle/>
        <a:p>
          <a:pPr lvl="0" algn="ctr" defTabSz="622300">
            <a:lnSpc>
              <a:spcPct val="90000"/>
            </a:lnSpc>
            <a:spcBef>
              <a:spcPct val="0"/>
            </a:spcBef>
            <a:spcAft>
              <a:spcPct val="35000"/>
            </a:spcAft>
            <a:defRPr b="1"/>
          </a:pPr>
          <a:r>
            <a:rPr lang="en-US" sz="1400" kern="1200"/>
            <a:t>2020</a:t>
          </a:r>
        </a:p>
      </dsp:txBody>
      <dsp:txXfrm>
        <a:off x="2623194" y="1404619"/>
        <a:ext cx="3600003" cy="453491"/>
      </dsp:txXfrm>
    </dsp:sp>
    <dsp:sp modelId="{70B493A5-2EE4-45B5-A68E-005D71F34732}">
      <dsp:nvSpPr>
        <dsp:cNvPr id="0" name=""/>
        <dsp:cNvSpPr/>
      </dsp:nvSpPr>
      <dsp:spPr>
        <a:xfrm>
          <a:off x="2020367" y="2018352"/>
          <a:ext cx="60198" cy="58450"/>
        </a:xfrm>
        <a:prstGeom prst="ellipse">
          <a:avLst/>
        </a:prstGeom>
        <a:solidFill>
          <a:schemeClr val="accent2"/>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51EBA3E-98A1-4D32-B3D3-728BC5ABD014}">
      <dsp:nvSpPr>
        <dsp:cNvPr id="0" name=""/>
        <dsp:cNvSpPr/>
      </dsp:nvSpPr>
      <dsp:spPr>
        <a:xfrm>
          <a:off x="2377739" y="2769108"/>
          <a:ext cx="4090912" cy="1133290"/>
        </a:xfrm>
        <a:prstGeom prst="roundRect">
          <a:avLst/>
        </a:prstGeom>
        <a:solidFill>
          <a:schemeClr val="lt1">
            <a:alpha val="90000"/>
            <a:hueOff val="0"/>
            <a:satOff val="0"/>
            <a:lumOff val="0"/>
            <a:alphaOff val="0"/>
          </a:schemeClr>
        </a:solidFill>
        <a:ln w="12700" cap="flat" cmpd="sng" algn="ctr">
          <a:solidFill>
            <a:schemeClr val="accent6"/>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lvl="0" algn="l" defTabSz="533400">
            <a:lnSpc>
              <a:spcPct val="90000"/>
            </a:lnSpc>
            <a:spcBef>
              <a:spcPct val="0"/>
            </a:spcBef>
            <a:spcAft>
              <a:spcPct val="35000"/>
            </a:spcAft>
          </a:pPr>
          <a:r>
            <a:rPr lang="en-US" sz="1200" kern="1200"/>
            <a:t>Follow up IRF meeting and IOGP/IADC input to IRF October </a:t>
          </a:r>
        </a:p>
        <a:p>
          <a:pPr lvl="0" algn="l" defTabSz="533400">
            <a:lnSpc>
              <a:spcPct val="90000"/>
            </a:lnSpc>
            <a:spcBef>
              <a:spcPct val="0"/>
            </a:spcBef>
            <a:spcAft>
              <a:spcPct val="35000"/>
            </a:spcAft>
          </a:pPr>
          <a:r>
            <a:rPr lang="en-US" sz="1200" kern="1200"/>
            <a:t>Decision to refine PS with more specific focus </a:t>
          </a:r>
        </a:p>
        <a:p>
          <a:pPr lvl="0" algn="l" defTabSz="533400">
            <a:lnSpc>
              <a:spcPct val="90000"/>
            </a:lnSpc>
            <a:spcBef>
              <a:spcPct val="0"/>
            </a:spcBef>
            <a:spcAft>
              <a:spcPct val="35000"/>
            </a:spcAft>
          </a:pPr>
          <a:r>
            <a:rPr lang="en-US" sz="1200" kern="1200"/>
            <a:t>Various activities in IOGP and continued IADC committee efforts</a:t>
          </a:r>
        </a:p>
      </dsp:txBody>
      <dsp:txXfrm>
        <a:off x="2433062" y="2824431"/>
        <a:ext cx="3980266" cy="1022644"/>
      </dsp:txXfrm>
    </dsp:sp>
    <dsp:sp modelId="{A9963AC1-7DBA-49E6-ADF7-E776133890A6}">
      <dsp:nvSpPr>
        <dsp:cNvPr id="0" name=""/>
        <dsp:cNvSpPr/>
      </dsp:nvSpPr>
      <dsp:spPr>
        <a:xfrm>
          <a:off x="4423196" y="2006599"/>
          <a:ext cx="0" cy="762508"/>
        </a:xfrm>
        <a:prstGeom prst="line">
          <a:avLst/>
        </a:prstGeom>
        <a:noFill/>
        <a:ln w="6350" cap="flat" cmpd="sng" algn="ctr">
          <a:solidFill>
            <a:schemeClr val="accent6"/>
          </a:solidFill>
          <a:prstDash val="dash"/>
          <a:miter lim="800000"/>
        </a:ln>
        <a:effectLst/>
      </dsp:spPr>
      <dsp:style>
        <a:lnRef idx="1">
          <a:scrgbClr r="0" g="0" b="0"/>
        </a:lnRef>
        <a:fillRef idx="0">
          <a:scrgbClr r="0" g="0" b="0"/>
        </a:fillRef>
        <a:effectRef idx="0">
          <a:scrgbClr r="0" g="0" b="0"/>
        </a:effectRef>
        <a:fontRef idx="minor"/>
      </dsp:style>
    </dsp:sp>
    <dsp:sp modelId="{7E2AA916-5B56-4100-8264-C4AB0B4F5781}">
      <dsp:nvSpPr>
        <dsp:cNvPr id="0" name=""/>
        <dsp:cNvSpPr/>
      </dsp:nvSpPr>
      <dsp:spPr>
        <a:xfrm>
          <a:off x="4995923" y="2155088"/>
          <a:ext cx="3600003" cy="4534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1">
          <a:noAutofit/>
        </a:bodyPr>
        <a:lstStyle/>
        <a:p>
          <a:pPr lvl="0" algn="ctr" defTabSz="622300">
            <a:lnSpc>
              <a:spcPct val="90000"/>
            </a:lnSpc>
            <a:spcBef>
              <a:spcPct val="0"/>
            </a:spcBef>
            <a:spcAft>
              <a:spcPct val="35000"/>
            </a:spcAft>
            <a:defRPr b="1"/>
          </a:pPr>
          <a:r>
            <a:rPr lang="en-US" sz="1400" kern="1200"/>
            <a:t>2021</a:t>
          </a:r>
        </a:p>
      </dsp:txBody>
      <dsp:txXfrm>
        <a:off x="4995923" y="2155088"/>
        <a:ext cx="3600003" cy="453491"/>
      </dsp:txXfrm>
    </dsp:sp>
    <dsp:sp modelId="{EAE8ED86-A30B-4EA7-B4BE-58C7821CBC75}">
      <dsp:nvSpPr>
        <dsp:cNvPr id="0" name=""/>
        <dsp:cNvSpPr/>
      </dsp:nvSpPr>
      <dsp:spPr>
        <a:xfrm>
          <a:off x="4393097" y="1976500"/>
          <a:ext cx="60198" cy="60198"/>
        </a:xfrm>
        <a:prstGeom prst="ellipse">
          <a:avLst/>
        </a:prstGeom>
        <a:solidFill>
          <a:schemeClr val="accent6"/>
        </a:solidFill>
        <a:ln w="12700" cap="flat" cmpd="sng" algn="ctr">
          <a:solidFill>
            <a:schemeClr val="accent6"/>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D146A93-2725-4565-ADE9-2D05979D84BA}">
      <dsp:nvSpPr>
        <dsp:cNvPr id="0" name=""/>
        <dsp:cNvSpPr/>
      </dsp:nvSpPr>
      <dsp:spPr>
        <a:xfrm>
          <a:off x="4750469" y="0"/>
          <a:ext cx="4090912" cy="1244092"/>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lvl="0" algn="l" defTabSz="533400">
            <a:lnSpc>
              <a:spcPct val="90000"/>
            </a:lnSpc>
            <a:spcBef>
              <a:spcPct val="0"/>
            </a:spcBef>
            <a:spcAft>
              <a:spcPct val="35000"/>
            </a:spcAft>
          </a:pPr>
          <a:r>
            <a:rPr lang="en-US" sz="1200" kern="1200"/>
            <a:t>Kick off framing meeting with IRF/IADC/IOGP. Feb 2021 </a:t>
          </a:r>
        </a:p>
        <a:p>
          <a:pPr lvl="0" algn="l" defTabSz="533400">
            <a:lnSpc>
              <a:spcPct val="90000"/>
            </a:lnSpc>
            <a:spcBef>
              <a:spcPct val="0"/>
            </a:spcBef>
            <a:spcAft>
              <a:spcPct val="35000"/>
            </a:spcAft>
          </a:pPr>
          <a:r>
            <a:rPr lang="en-US" sz="1200" kern="1200"/>
            <a:t>New version of PS drafted incorporating feedback from IRF members, IOGP and IADC</a:t>
          </a:r>
        </a:p>
        <a:p>
          <a:pPr lvl="0" algn="l" defTabSz="533400">
            <a:lnSpc>
              <a:spcPct val="90000"/>
            </a:lnSpc>
            <a:spcBef>
              <a:spcPct val="0"/>
            </a:spcBef>
            <a:spcAft>
              <a:spcPct val="35000"/>
            </a:spcAft>
          </a:pPr>
          <a:r>
            <a:rPr lang="en-US" sz="1200" kern="1200"/>
            <a:t>Follow up meetings IOGP, IADC and IRF</a:t>
          </a:r>
        </a:p>
        <a:p>
          <a:pPr lvl="0" algn="l" defTabSz="533400">
            <a:lnSpc>
              <a:spcPct val="90000"/>
            </a:lnSpc>
            <a:spcBef>
              <a:spcPct val="0"/>
            </a:spcBef>
            <a:spcAft>
              <a:spcPct val="35000"/>
            </a:spcAft>
          </a:pPr>
          <a:r>
            <a:rPr lang="en-US" sz="1200" kern="1200"/>
            <a:t>PS published on IRFs webpages</a:t>
          </a:r>
        </a:p>
      </dsp:txBody>
      <dsp:txXfrm>
        <a:off x="4811201" y="60732"/>
        <a:ext cx="3969448" cy="1122628"/>
      </dsp:txXfrm>
    </dsp:sp>
    <dsp:sp modelId="{9F201839-9040-407B-8BBD-FF7953DB03E7}">
      <dsp:nvSpPr>
        <dsp:cNvPr id="0" name=""/>
        <dsp:cNvSpPr/>
      </dsp:nvSpPr>
      <dsp:spPr>
        <a:xfrm>
          <a:off x="6795925" y="1244092"/>
          <a:ext cx="0" cy="762508"/>
        </a:xfrm>
        <a:prstGeom prst="line">
          <a:avLst/>
        </a:prstGeom>
        <a:noFill/>
        <a:ln w="6350" cap="flat" cmpd="sng" algn="ctr">
          <a:solidFill>
            <a:schemeClr val="accent1">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59474704-6A5F-439E-8E11-002AF6181886}">
      <dsp:nvSpPr>
        <dsp:cNvPr id="0" name=""/>
        <dsp:cNvSpPr/>
      </dsp:nvSpPr>
      <dsp:spPr>
        <a:xfrm>
          <a:off x="6765826" y="1976500"/>
          <a:ext cx="60198" cy="60198"/>
        </a:xfrm>
        <a:prstGeom prst="ellipse">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16/7/layout/BasicTimeline">
  <dgm:title val="Basic Timeline"/>
  <dgm:desc val="Use to show a list of events in chronological order. The rounded rectangular shape contains the description while the date is shown below on the time line. It's the perfect SmartArt for displaying large amount of text with a medium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dgm:constrLst>
    <dgm:layoutNode name="divider" styleLbl="fgAccFollowNode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xmlns="">
                  <a:ln>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xmlns="">
                  <a:ln>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presOf/>
      <dgm:shape xmlns:r="http://schemas.openxmlformats.org/officeDocument/2006/relationships" r:blip="">
        <dgm:adjLst/>
      </dgm:shape>
      <dgm:choose name="constrBasedOnChildrenCount">
        <dgm:if name="constrForTwoChildren" axis="ch" ptType="node" func="cnt" op="lte" val="2">
          <dgm:constrLst>
            <dgm:constr type="primFontSz" for="des" forName="L1TextContainer" val="20"/>
            <dgm:constr type="primFontSz" for="des" forName="L2TextContainer" refType="primFontSz" refFor="des" refForName="L1TextContainer" op="equ" fact="0.85"/>
            <dgm:constr type="w" for="ch" forName="composite" refType="w"/>
            <dgm:constr type="h" for="ch" forName="composite" refType="h"/>
            <dgm:constr type="w" for="ch" forName="spaceBetweenRectangles" refType="w" refFor="ch" refForName="composite" fact="0.16"/>
            <dgm:constr type="w" for="ch" ptType="sibTrans" op="equ"/>
            <dgm:constr type="primFontSz" for="des" forName="L1TextContainer" op="equ"/>
            <dgm:constr type="primFontSz" for="des" forName="L2TextContainer" op="equ"/>
          </dgm:constrLst>
        </dgm:if>
        <dgm:else name="constrForRest">
          <dgm:constrLst>
            <dgm:constr type="primFontSz" for="des" forName="L1TextContainer" val="20"/>
            <dgm:constr type="primFontSz" for="des" forName="L2TextContainer" refType="primFontSz" refFor="des" refForName="L1TextContainer" op="equ" fact="0.85"/>
            <dgm:constr type="w" for="ch" forName="composite" refType="w"/>
            <dgm:constr type="h" for="ch" forName="composite" refType="h"/>
            <dgm:constr type="w" for="ch" forName="spaceBetweenRectangles" refType="w" refFor="ch" refForName="composite" fact="-0.42"/>
            <dgm:constr type="w" for="ch" ptType="sibTrans" op="equ"/>
            <dgm:constr type="primFontSz" for="des" forName="L1TextContainer" op="equ"/>
            <dgm:constr type="primFontSz" for="des" forName="L2TextContainer" op="equ"/>
          </dgm:constrLst>
        </dgm:else>
      </dgm:choose>
      <dgm:forEach name="nodesForEach" axis="ch" ptType="node">
        <dgm:layoutNode name="composite">
          <dgm:alg type="composite"/>
          <dgm:shape xmlns:r="http://schemas.openxmlformats.org/officeDocument/2006/relationships" r:blip="">
            <dgm:adjLst/>
          </dgm:shape>
          <dgm:choose name="CaseForPlacingNodesAboveAndBelowDivider">
            <dgm:if name="CaseForPlacingNodeAboveDivider" axis="self" ptType="node" func="posOdd" op="equ" val="1">
              <dgm:constrLst>
                <dgm:constr type="w" for="ch" forName="L1TextContainer" refType="w" fact="0.88"/>
                <dgm:constr type="l" for="ch" forName="L1TextContainer" refType="w" fact="0.06"/>
                <dgm:constr type="t" for="ch" forName="L1TextContainer" refType="h" fact="0.537"/>
                <dgm:constr type="h" for="ch" forName="L1TextContainer" refType="h" fact="0.113"/>
                <dgm:constr type="w" for="ch" forName="L2TextContainerWrapper" refType="w"/>
                <dgm:constr type="h" for="ch" forName="L2TextContainerWrapper" refType="h" fact="0.31"/>
                <dgm:constr type="b" for="ch" forName="L2TextContainerWrapper" refType="h" fact="0.31"/>
                <dgm:constr type="w" for="ch" forName="ConnectLine"/>
                <dgm:constr type="l" for="ch" forName="ConnectLine" refType="w" fact="0.5"/>
                <dgm:constr type="h" for="ch" forName="ConnectLine" refType="h" fact="0.19"/>
                <dgm:constr type="t" for="ch" forName="ConnectLine" refType="h" fact="0.31"/>
                <dgm:constr type="w" for="ch" forName="ConnectorPoint" refType="h" fact="0.015"/>
                <dgm:constr type="h" for="ch" forName="ConnectorPoint" refType="h" fact="0.015"/>
                <dgm:constr type="ctrX" for="ch" forName="ConnectorPoint" refType="w" fact="0.5"/>
                <dgm:constr type="ctrY" for="ch" forName="ConnectorPoint" refType="h" fact="0.5"/>
                <dgm:constr type="w" for="ch" forName="EmptyPlaceHolder" refType="w"/>
                <dgm:constr type="t" for="ch" forName="EmptyPlaceHolder" refType="h" fact="0.65"/>
                <dgm:constr type="h" for="ch" forName="EmptyPlaceHolder" refType="h" fact="0.35"/>
              </dgm:constrLst>
            </dgm:if>
            <dgm:else name="CaseForPlacingNodeBelowDivider">
              <dgm:constrLst>
                <dgm:constr type="w" for="ch" forName="L1TextContainer" refType="w" fact="0.88"/>
                <dgm:constr type="l" for="ch" forName="L1TextContainer" refType="w" fact="0.06"/>
                <dgm:constr type="t" for="ch" forName="L1TextContainer" refType="h" fact="0.35"/>
                <dgm:constr type="h" for="ch" forName="L1TextContainer" refType="h" fact="0.113"/>
                <dgm:constr type="w" for="ch" forName="L2TextContainerWrapper" refType="w"/>
                <dgm:constr type="h" for="ch" forName="L2TextContainerWrapper" refType="h" fact="0.31"/>
                <dgm:constr type="t" for="ch" forName="L2TextContainerWrapper" refType="h" fact="0.69"/>
                <dgm:constr type="w" for="ch" forName="ConnectLine"/>
                <dgm:constr type="l" for="ch" forName="ConnectLine" refType="w" fact="0.5"/>
                <dgm:constr type="h" for="ch" forName="ConnectLine" refType="h" fact="0.19"/>
                <dgm:constr type="t" for="ch" forName="ConnectLine" refType="h" fact="0.5"/>
                <dgm:constr type="w" for="ch" forName="ConnectorPoint" refType="h" fact="0.015"/>
                <dgm:constr type="h" for="ch" forName="ConnectorPoint" refType="h" fact="0.015"/>
                <dgm:constr type="ctrX" for="ch" forName="ConnectorPoint" refType="w" fact="0.5"/>
                <dgm:constr type="ctrY" for="ch" forName="ConnectorPoint" refType="h" fact="0.5"/>
                <dgm:constr type="w" for="ch" forName="EmptyPlaceHolder" refType="w"/>
                <dgm:constr type="h" for="ch" forName="EmptyPlaceHolder" refType="h" fact="0.35"/>
                <dgm:constr type="t" for="ch" forName="EmptyPlaceHolder" refType="h" fact="0"/>
              </dgm:constrLst>
            </dgm:else>
          </dgm:choose>
          <dgm:layoutNode name="L1TextContainer" styleLbl="revTx">
            <dgm:varLst>
              <dgm:chMax val="1"/>
              <dgm:chPref val="1"/>
              <dgm:bulletEnabled val="1"/>
            </dgm:varLst>
            <dgm:choose name="casesForTxtDirLogic">
              <dgm:if name="Name78" axis="self" ptType="node" func="posOdd" op="equ" val="1">
                <dgm:alg type="tx">
                  <dgm:param type="txAnchorHorz" val="ctr"/>
                  <dgm:param type="txAnchorVert" val="t"/>
                  <dgm:param type="parTxLTRAlign" val="ctr"/>
                  <dgm:param type="parTxRTLAlign" val="ctr"/>
                </dgm:alg>
              </dgm:if>
              <dgm:else name="Name89">
                <dgm:alg type="tx">
                  <dgm:param type="txAnchorHorz" val="ctr"/>
                  <dgm:param type="txAnchorVert" val="b"/>
                  <dgm:param type="parTxLTRAlign" val="ctr"/>
                  <dgm:param type="parTxRTLAlign" val="ctr"/>
                </dgm:alg>
              </dgm:else>
            </dgm:choose>
            <dgm:shape xmlns:r="http://schemas.openxmlformats.org/officeDocument/2006/relationships" type="rect" r:blip="">
              <dgm:adjLst/>
            </dgm:shape>
            <dgm:presOf axis="self"/>
            <dgm:constrLst>
              <dgm:constr type="lMarg"/>
              <dgm:constr type="rMarg"/>
              <dgm:constr type="tMarg"/>
              <dgm:constr type="bMarg"/>
            </dgm:constrLst>
            <dgm:ruleLst>
              <dgm:rule type="primFontSz" val="14" fact="NaN" max="NaN"/>
            </dgm:ruleLst>
          </dgm:layoutNode>
          <dgm:layoutNode name="L2TextContainerWrapper">
            <dgm:varLst>
              <dgm:chMax val="0"/>
              <dgm:chPref val="0"/>
              <dgm:bulletEnabled val="1"/>
            </dgm:varLst>
            <dgm:alg type="composite"/>
            <dgm:choose name="L2TextContainerConstr">
              <dgm:if name="CaseForPlacingL2TextContaineAboveDivider" axis="self" ptType="node" func="posOdd" op="equ" val="1">
                <dgm:constrLst>
                  <dgm:constr type="h" for="ch" forName="L2TextContainer" refType="h" fact="0.55"/>
                  <dgm:constr type="b" for="ch" forName="L2TextContainer" refType="h"/>
                  <dgm:constr type="h" for="ch" forName="FlexibleEmptyPlaceHolder" refType="h" fact="0.45"/>
                </dgm:constrLst>
              </dgm:if>
              <dgm:else name="CaseForPlacingL2TextContaineBelowDivider">
                <dgm:constrLst>
                  <dgm:constr type="h" for="ch" forName="L2TextContainer" refType="h" fact="0.55"/>
                  <dgm:constr type="h" for="ch" forName="FlexibleEmptyPlaceHolder" refType="h" fact="0.45"/>
                  <dgm:constr type="b" for="ch" forName="FlexibleEmptyPlaceHolder" refType="h"/>
                </dgm:constrLst>
              </dgm:else>
            </dgm:choose>
            <dgm:layoutNode name="L2TextContainer" styleLbl="bgAcc1">
              <dgm:choose name="L2TextContainerAlgo">
                <dgm:if name="L2TextContainerAlgoLTR" func="var" arg="dir" op="equ" val="norm">
                  <dgm:alg type="tx">
                    <dgm:param type="txAnchorVert" val="mid"/>
                    <dgm:param type="parTxRTLAlign" val="l"/>
                    <dgm:param type="parTxLTRAlign" val="l"/>
                    <dgm:param type="txAnchorVertCh" val="mid"/>
                    <dgm:param type="shpTxRTLAlignCh" val="l"/>
                    <dgm:param type="shpTxLTRAlignCh" val="l"/>
                  </dgm:alg>
                </dgm:if>
                <dgm:else name="L2TextContainerAlgoRTL">
                  <dgm:alg type="tx">
                    <dgm:param type="txAnchorVert" val="mid"/>
                    <dgm:param type="parTxRTLAlign" val="r"/>
                    <dgm:param type="parTxLTRAlign" val="r"/>
                    <dgm:param type="txAnchorVertCh" val="mid"/>
                    <dgm:param type="shpTxRTLAlignCh" val="r"/>
                    <dgm:param type="shpTxLTRAlignCh" val="r"/>
                  </dgm:alg>
                </dgm:else>
              </dgm:choose>
              <dgm:shape xmlns:r="http://schemas.openxmlformats.org/officeDocument/2006/relationships" type="roundRect" r:blip="">
                <dgm:adjLst/>
              </dgm:shape>
              <dgm:presOf axis="des" ptType="node"/>
              <dgm:constrLst>
                <dgm:constr type="primFontSz" val="17"/>
                <dgm:constr type="lMarg" refType="primFontSz" fact="0.7"/>
                <dgm:constr type="rMarg" refType="primFontSz" fact="0.7"/>
                <dgm:constr type="tMarg" refType="primFontSz" fact="0.7"/>
                <dgm:constr type="bMarg" refType="primFontSz" fact="0.7"/>
              </dgm:constrLst>
              <dgm:ruleLst>
                <dgm:rule type="primFontSz" val="12" fact="NaN" max="NaN"/>
                <dgm:rule type="secFontSz" val="10" fact="NaN" max="NaN"/>
                <dgm:rule type="h" val="INF" fact="NaN" max="NaN"/>
              </dgm:ruleLst>
            </dgm:layoutNode>
            <dgm:layoutNode name="FlexibleEmptyPlaceHolder">
              <dgm:alg type="sp"/>
              <dgm:shape xmlns:r="http://schemas.openxmlformats.org/officeDocument/2006/relationships" r:blip="">
                <dgm:adjLst/>
              </dgm:shape>
              <dgm:presOf/>
              <dgm:constrLst/>
            </dgm:layoutNode>
          </dgm:layoutNode>
          <dgm:layoutNode name="ConnectLine" styleLbl="sibTrans1D1" moveWith="L2TextContainer">
            <dgm:alg type="sp"/>
            <dgm:shape xmlns:r="http://schemas.openxmlformats.org/officeDocument/2006/relationships" type="line" r:blip="">
              <dgm:adjLst/>
              <dgm:extLst>
                <a:ext uri="{B698B0E9-8C71-41B9-8309-B3DCBF30829C}">
                  <dgm1612:spPr xmlns:dgm1612="http://schemas.microsoft.com/office/drawing/2016/12/diagram" xmlns="">
                    <a:ln>
                      <a:prstDash val="dash"/>
                    </a:ln>
                  </dgm1612:spPr>
                </a:ext>
              </dgm:extLst>
            </dgm:shape>
            <dgm:presOf/>
            <dgm:constrLst/>
          </dgm:layoutNode>
          <dgm:layoutNode name="ConnectorPoint" styleLbl="alignNode1" moveWith="L2TextContainer">
            <dgm:alg type="sp"/>
            <dgm:shape xmlns:r="http://schemas.openxmlformats.org/officeDocument/2006/relationships" type="ellipse" r:blip="" zOrderOff="1">
              <dgm:adj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Node>
  <dgm:extLst>
    <a:ext uri="{68A01E43-0DF5-4B5B-8FA6-DAF915123BFB}">
      <dgm1612:lstStyle xmlns:dgm1612="http://schemas.microsoft.com/office/drawing/2016/12/diagram" xmlns="">
        <a:lvl1pPr>
          <a:defRPr b="1"/>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753D36-2C6C-46ED-ADF0-96CF57C7491E}" type="datetimeFigureOut">
              <a:rPr lang="nb-NO" smtClean="0"/>
              <a:t>23.09.2021</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01D6AA-456F-4FB0-857A-254384B3AC2A}" type="slidenum">
              <a:rPr lang="nb-NO" smtClean="0"/>
              <a:t>‹#›</a:t>
            </a:fld>
            <a:endParaRPr lang="nb-NO"/>
          </a:p>
        </p:txBody>
      </p:sp>
    </p:spTree>
    <p:extLst>
      <p:ext uri="{BB962C8B-B14F-4D97-AF65-F5344CB8AC3E}">
        <p14:creationId xmlns:p14="http://schemas.microsoft.com/office/powerpoint/2010/main" val="3539512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fontAlgn="base"/>
            <a:r>
              <a:rPr lang="nb-NO" sz="1200">
                <a:latin typeface="Segoe UI"/>
                <a:cs typeface="Segoe UI"/>
              </a:rPr>
              <a:t>Boeing 737 Max </a:t>
            </a:r>
            <a:r>
              <a:rPr lang="nb-NO" sz="1200" err="1">
                <a:latin typeface="Segoe UI"/>
                <a:cs typeface="Segoe UI"/>
              </a:rPr>
              <a:t>crashed</a:t>
            </a:r>
            <a:r>
              <a:rPr lang="nb-NO" sz="1200">
                <a:latin typeface="Segoe UI"/>
                <a:cs typeface="Segoe UI"/>
              </a:rPr>
              <a:t> (</a:t>
            </a:r>
            <a:r>
              <a:rPr lang="nb-NO" sz="1200" err="1">
                <a:latin typeface="Segoe UI"/>
                <a:cs typeface="Segoe UI"/>
              </a:rPr>
              <a:t>Endsley</a:t>
            </a:r>
            <a:r>
              <a:rPr lang="nb-NO" sz="1200">
                <a:latin typeface="Segoe UI"/>
                <a:cs typeface="Segoe UI"/>
              </a:rPr>
              <a:t>, 2019), (NTSB, 2019), (ECAA, 2019).</a:t>
            </a:r>
          </a:p>
          <a:p>
            <a:pPr fontAlgn="base"/>
            <a:r>
              <a:rPr lang="nb-NO" sz="1200">
                <a:latin typeface="Segoe UI"/>
                <a:cs typeface="Segoe UI"/>
              </a:rPr>
              <a:t>DP </a:t>
            </a:r>
            <a:r>
              <a:rPr lang="nb-NO" sz="1200" err="1">
                <a:latin typeface="Segoe UI"/>
                <a:cs typeface="Segoe UI"/>
              </a:rPr>
              <a:t>operations</a:t>
            </a:r>
            <a:r>
              <a:rPr lang="nb-NO" sz="1200">
                <a:latin typeface="Segoe UI"/>
                <a:cs typeface="Segoe UI"/>
              </a:rPr>
              <a:t> (Dong, </a:t>
            </a:r>
            <a:r>
              <a:rPr lang="nb-NO" sz="1200" err="1">
                <a:latin typeface="Segoe UI"/>
                <a:cs typeface="Segoe UI"/>
              </a:rPr>
              <a:t>Vinnem</a:t>
            </a:r>
            <a:r>
              <a:rPr lang="nb-NO" sz="1200">
                <a:latin typeface="Segoe UI"/>
                <a:cs typeface="Segoe UI"/>
              </a:rPr>
              <a:t> &amp; Utne, 2017), </a:t>
            </a:r>
            <a:r>
              <a:rPr lang="nb-NO" sz="1200" err="1">
                <a:latin typeface="Segoe UI"/>
                <a:cs typeface="Segoe UI"/>
              </a:rPr>
              <a:t>look</a:t>
            </a:r>
            <a:r>
              <a:rPr lang="nb-NO" sz="1200">
                <a:latin typeface="Segoe UI"/>
                <a:cs typeface="Segoe UI"/>
              </a:rPr>
              <a:t> at systems and alarms </a:t>
            </a:r>
          </a:p>
          <a:p>
            <a:pPr fontAlgn="base"/>
            <a:r>
              <a:rPr lang="nb-NO" sz="1200">
                <a:latin typeface="Segoe UI"/>
                <a:cs typeface="Segoe UI"/>
              </a:rPr>
              <a:t>Road </a:t>
            </a:r>
            <a:r>
              <a:rPr lang="nb-NO" sz="1200" err="1">
                <a:latin typeface="Segoe UI"/>
                <a:cs typeface="Segoe UI"/>
              </a:rPr>
              <a:t>traffic</a:t>
            </a:r>
            <a:r>
              <a:rPr lang="nb-NO" sz="1200">
                <a:latin typeface="Segoe UI"/>
                <a:cs typeface="Segoe UI"/>
              </a:rPr>
              <a:t> </a:t>
            </a:r>
            <a:r>
              <a:rPr lang="nb-NO" sz="1200" err="1">
                <a:latin typeface="Segoe UI"/>
                <a:cs typeface="Segoe UI"/>
              </a:rPr>
              <a:t>accident</a:t>
            </a:r>
            <a:r>
              <a:rPr lang="nb-NO" sz="1200">
                <a:latin typeface="Segoe UI"/>
                <a:cs typeface="Segoe UI"/>
              </a:rPr>
              <a:t> </a:t>
            </a:r>
            <a:r>
              <a:rPr lang="nb-NO" sz="1200" err="1">
                <a:latin typeface="Segoe UI"/>
                <a:cs typeface="Segoe UI"/>
              </a:rPr>
              <a:t>involving</a:t>
            </a:r>
            <a:r>
              <a:rPr lang="nb-NO" sz="1200">
                <a:latin typeface="Segoe UI"/>
                <a:cs typeface="Segoe UI"/>
              </a:rPr>
              <a:t> Tesla (Joshua Brown) in </a:t>
            </a:r>
            <a:r>
              <a:rPr lang="nb-NO" sz="1200" err="1">
                <a:latin typeface="Segoe UI"/>
                <a:cs typeface="Segoe UI"/>
              </a:rPr>
              <a:t>the</a:t>
            </a:r>
            <a:r>
              <a:rPr lang="nb-NO" sz="1200">
                <a:latin typeface="Segoe UI"/>
                <a:cs typeface="Segoe UI"/>
              </a:rPr>
              <a:t> USA – NTSB (2017)</a:t>
            </a:r>
          </a:p>
          <a:p>
            <a:pPr fontAlgn="base"/>
            <a:r>
              <a:rPr lang="nb-NO" sz="1200">
                <a:latin typeface="Segoe UI"/>
                <a:cs typeface="Segoe UI"/>
              </a:rPr>
              <a:t>Mærsk </a:t>
            </a:r>
            <a:r>
              <a:rPr lang="nb-NO" sz="1200" err="1">
                <a:latin typeface="Segoe UI"/>
                <a:cs typeface="Segoe UI"/>
              </a:rPr>
              <a:t>Gallant</a:t>
            </a:r>
            <a:r>
              <a:rPr lang="nb-NO" sz="1200">
                <a:latin typeface="Segoe UI"/>
                <a:cs typeface="Segoe UI"/>
              </a:rPr>
              <a:t> – </a:t>
            </a:r>
            <a:r>
              <a:rPr lang="nb-NO" sz="1200" err="1">
                <a:latin typeface="Segoe UI"/>
                <a:cs typeface="Segoe UI"/>
              </a:rPr>
              <a:t>Well</a:t>
            </a:r>
            <a:r>
              <a:rPr lang="nb-NO" sz="1200">
                <a:latin typeface="Segoe UI"/>
                <a:cs typeface="Segoe UI"/>
              </a:rPr>
              <a:t> </a:t>
            </a:r>
            <a:r>
              <a:rPr lang="nb-NO" sz="1200" err="1">
                <a:latin typeface="Segoe UI"/>
                <a:cs typeface="Segoe UI"/>
              </a:rPr>
              <a:t>control</a:t>
            </a:r>
            <a:r>
              <a:rPr lang="nb-NO" sz="1200">
                <a:latin typeface="Segoe UI"/>
                <a:cs typeface="Segoe UI"/>
              </a:rPr>
              <a:t> </a:t>
            </a:r>
            <a:r>
              <a:rPr lang="nb-NO" sz="1200" err="1">
                <a:latin typeface="Segoe UI"/>
                <a:cs typeface="Segoe UI"/>
              </a:rPr>
              <a:t>event</a:t>
            </a:r>
            <a:r>
              <a:rPr lang="nb-NO" sz="1200">
                <a:latin typeface="Segoe UI"/>
                <a:cs typeface="Segoe UI"/>
              </a:rPr>
              <a:t> (Mærsk Drilling, 2015)</a:t>
            </a:r>
          </a:p>
          <a:p>
            <a:endParaRPr lang="nb-NO"/>
          </a:p>
          <a:p>
            <a:pPr marL="0" marR="0" lvl="0" indent="0" algn="l" defTabSz="914400" rtl="0" eaLnBrk="1" fontAlgn="auto" latinLnBrk="0" hangingPunct="1">
              <a:lnSpc>
                <a:spcPct val="100000"/>
              </a:lnSpc>
              <a:spcBef>
                <a:spcPts val="0"/>
              </a:spcBef>
              <a:spcAft>
                <a:spcPts val="0"/>
              </a:spcAft>
              <a:buClrTx/>
              <a:buSzTx/>
              <a:buFontTx/>
              <a:buNone/>
              <a:tabLst/>
              <a:defRPr/>
            </a:pPr>
            <a:r>
              <a:rPr lang="en-US"/>
              <a:t>NTSB Price (2019) “What Accident Investigation Has Taught Us (And Continues to Teach Us) About Human Factors in Automated Transportation” J. Price /NTSB at HFC meeting https://www.sintef.no/projectweb/hfc/moeterefer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latin typeface="Segoe UI"/>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a:latin typeface="Segoe UI"/>
                <a:cs typeface="Segoe UI"/>
              </a:rPr>
              <a:t>Loss </a:t>
            </a:r>
            <a:r>
              <a:rPr lang="nb-NO" sz="1200" err="1">
                <a:latin typeface="Segoe UI"/>
                <a:cs typeface="Segoe UI"/>
              </a:rPr>
              <a:t>of</a:t>
            </a:r>
            <a:r>
              <a:rPr lang="nb-NO" sz="1200">
                <a:latin typeface="Segoe UI"/>
                <a:cs typeface="Segoe UI"/>
              </a:rPr>
              <a:t> </a:t>
            </a:r>
            <a:r>
              <a:rPr lang="nb-NO" sz="1200" err="1">
                <a:latin typeface="Segoe UI"/>
                <a:cs typeface="Segoe UI"/>
              </a:rPr>
              <a:t>control</a:t>
            </a:r>
            <a:r>
              <a:rPr lang="nb-NO" sz="1200">
                <a:latin typeface="Segoe UI"/>
                <a:cs typeface="Segoe UI"/>
              </a:rPr>
              <a:t>, </a:t>
            </a:r>
            <a:r>
              <a:rPr lang="nb-NO" sz="1200" err="1">
                <a:latin typeface="Segoe UI"/>
                <a:cs typeface="Segoe UI"/>
              </a:rPr>
              <a:t>assumptions</a:t>
            </a:r>
            <a:r>
              <a:rPr lang="nb-NO" sz="1200">
                <a:latin typeface="Segoe UI"/>
                <a:cs typeface="Segoe UI"/>
              </a:rPr>
              <a:t> </a:t>
            </a:r>
            <a:r>
              <a:rPr lang="nb-NO" sz="1200" err="1">
                <a:latin typeface="Segoe UI"/>
                <a:cs typeface="Segoe UI"/>
              </a:rPr>
              <a:t>of</a:t>
            </a:r>
            <a:r>
              <a:rPr lang="nb-NO" sz="1200">
                <a:latin typeface="Segoe UI"/>
                <a:cs typeface="Segoe UI"/>
              </a:rPr>
              <a:t> operator </a:t>
            </a:r>
            <a:r>
              <a:rPr lang="nb-NO" sz="1200" err="1">
                <a:latin typeface="Segoe UI"/>
                <a:cs typeface="Segoe UI"/>
              </a:rPr>
              <a:t>response</a:t>
            </a:r>
            <a:r>
              <a:rPr lang="nb-NO" sz="1200">
                <a:latin typeface="Segoe UI"/>
                <a:cs typeface="Segoe UI"/>
              </a:rPr>
              <a:t>.</a:t>
            </a:r>
          </a:p>
          <a:p>
            <a:endParaRPr lang="nb-NO"/>
          </a:p>
          <a:p>
            <a:r>
              <a:rPr lang="en-US"/>
              <a:t>The same measures that make a system safe and predictable may introduce restrictions on cognition, which over time, inhibit or erode the </a:t>
            </a:r>
            <a:r>
              <a:rPr lang="en-US" err="1"/>
              <a:t>disturbancehandling</a:t>
            </a:r>
            <a:r>
              <a:rPr lang="en-US"/>
              <a:t> capability of the actors involved (AF-447, </a:t>
            </a:r>
            <a:r>
              <a:rPr lang="nb-NO"/>
              <a:t>Oliver et.al 2017)</a:t>
            </a:r>
          </a:p>
          <a:p>
            <a:endParaRPr lang="nb-NO"/>
          </a:p>
          <a:p>
            <a:r>
              <a:rPr lang="en-US"/>
              <a:t>HMI must present the information that is needed to enable decisions to be made </a:t>
            </a:r>
          </a:p>
          <a:p>
            <a:r>
              <a:rPr lang="en-US"/>
              <a:t>• The information must be clear and present the state of the system, including modes and system limits </a:t>
            </a:r>
          </a:p>
          <a:p>
            <a:r>
              <a:rPr lang="en-US"/>
              <a:t>• The system must provide support in the transition between modes, and indicate whether it is necessary to switch between automatic and manual operation </a:t>
            </a:r>
          </a:p>
          <a:p>
            <a:r>
              <a:rPr lang="en-US"/>
              <a:t>• The system must provide information on what the automation is doing, to increase understanding of the process and enable future actions to be predicted </a:t>
            </a:r>
          </a:p>
          <a:p>
            <a:endParaRPr lang="en-US"/>
          </a:p>
          <a:p>
            <a:pPr marL="171450" indent="-171450">
              <a:buFont typeface="Arial" panose="020B0604020202020204" pitchFamily="34" charset="0"/>
              <a:buChar char="•"/>
            </a:pPr>
            <a:r>
              <a:rPr lang="en-US"/>
              <a:t>poor situational awareness amongst those involved at the sharp end </a:t>
            </a:r>
          </a:p>
          <a:p>
            <a:r>
              <a:rPr lang="en-US"/>
              <a:t>• poor interaction within distributed teams </a:t>
            </a:r>
          </a:p>
          <a:p>
            <a:r>
              <a:rPr lang="en-US"/>
              <a:t>• poor design of equipment and poor alarms which are sometimes deactivated </a:t>
            </a:r>
          </a:p>
          <a:p>
            <a:r>
              <a:rPr lang="en-US"/>
              <a:t>• inadequate/demanding training • inadequate reporting of automation errors which lead to excessive trust</a:t>
            </a:r>
            <a:endParaRPr lang="nb-NO"/>
          </a:p>
        </p:txBody>
      </p:sp>
      <p:sp>
        <p:nvSpPr>
          <p:cNvPr id="4" name="Plassholder for lysbildenummer 3"/>
          <p:cNvSpPr>
            <a:spLocks noGrp="1"/>
          </p:cNvSpPr>
          <p:nvPr>
            <p:ph type="sldNum" sz="quarter" idx="5"/>
          </p:nvPr>
        </p:nvSpPr>
        <p:spPr/>
        <p:txBody>
          <a:bodyPr/>
          <a:lstStyle/>
          <a:p>
            <a:fld id="{2101D6AA-456F-4FB0-857A-254384B3AC2A}" type="slidenum">
              <a:rPr lang="nb-NO" smtClean="0"/>
              <a:t>4</a:t>
            </a:fld>
            <a:endParaRPr lang="nb-NO"/>
          </a:p>
        </p:txBody>
      </p:sp>
    </p:spTree>
    <p:extLst>
      <p:ext uri="{BB962C8B-B14F-4D97-AF65-F5344CB8AC3E}">
        <p14:creationId xmlns:p14="http://schemas.microsoft.com/office/powerpoint/2010/main" val="3822398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CE43F99-C9E2-40FB-B05A-07AAE7E04ADC}"/>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25E9145A-46F3-4A10-AF19-C889484C8F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64CE992E-37DC-48A3-8978-57273A59C344}"/>
              </a:ext>
            </a:extLst>
          </p:cNvPr>
          <p:cNvSpPr>
            <a:spLocks noGrp="1"/>
          </p:cNvSpPr>
          <p:nvPr>
            <p:ph type="dt" sz="half" idx="10"/>
          </p:nvPr>
        </p:nvSpPr>
        <p:spPr/>
        <p:txBody>
          <a:bodyPr/>
          <a:lstStyle/>
          <a:p>
            <a:fld id="{06D1ACE3-ACEF-4CC6-B351-F6EAB23783E4}" type="datetimeFigureOut">
              <a:rPr lang="nb-NO" smtClean="0"/>
              <a:t>23.09.2021</a:t>
            </a:fld>
            <a:endParaRPr lang="nb-NO"/>
          </a:p>
        </p:txBody>
      </p:sp>
      <p:sp>
        <p:nvSpPr>
          <p:cNvPr id="5" name="Plassholder for bunntekst 4">
            <a:extLst>
              <a:ext uri="{FF2B5EF4-FFF2-40B4-BE49-F238E27FC236}">
                <a16:creationId xmlns:a16="http://schemas.microsoft.com/office/drawing/2014/main" id="{20B8D5E2-A222-4C10-AA1D-E52DD377B577}"/>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7D0D97E0-1EC4-4262-92AF-5EF435999693}"/>
              </a:ext>
            </a:extLst>
          </p:cNvPr>
          <p:cNvSpPr>
            <a:spLocks noGrp="1"/>
          </p:cNvSpPr>
          <p:nvPr>
            <p:ph type="sldNum" sz="quarter" idx="12"/>
          </p:nvPr>
        </p:nvSpPr>
        <p:spPr/>
        <p:txBody>
          <a:bodyPr/>
          <a:lstStyle/>
          <a:p>
            <a:fld id="{056E43C7-3825-4ACE-A229-2F17C68B0FF2}" type="slidenum">
              <a:rPr lang="nb-NO" smtClean="0"/>
              <a:t>‹#›</a:t>
            </a:fld>
            <a:endParaRPr lang="nb-NO"/>
          </a:p>
        </p:txBody>
      </p:sp>
    </p:spTree>
    <p:extLst>
      <p:ext uri="{BB962C8B-B14F-4D97-AF65-F5344CB8AC3E}">
        <p14:creationId xmlns:p14="http://schemas.microsoft.com/office/powerpoint/2010/main" val="33296206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751DF63-430B-4086-83CF-17A3D1C71068}"/>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4CD08076-ECA7-47F9-A3E4-84379E53CCAA}"/>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07C17803-0A1C-4E4B-BD35-79F6C89155EB}"/>
              </a:ext>
            </a:extLst>
          </p:cNvPr>
          <p:cNvSpPr>
            <a:spLocks noGrp="1"/>
          </p:cNvSpPr>
          <p:nvPr>
            <p:ph type="dt" sz="half" idx="10"/>
          </p:nvPr>
        </p:nvSpPr>
        <p:spPr/>
        <p:txBody>
          <a:bodyPr/>
          <a:lstStyle/>
          <a:p>
            <a:fld id="{06D1ACE3-ACEF-4CC6-B351-F6EAB23783E4}" type="datetimeFigureOut">
              <a:rPr lang="nb-NO" smtClean="0"/>
              <a:t>23.09.2021</a:t>
            </a:fld>
            <a:endParaRPr lang="nb-NO"/>
          </a:p>
        </p:txBody>
      </p:sp>
      <p:sp>
        <p:nvSpPr>
          <p:cNvPr id="5" name="Plassholder for bunntekst 4">
            <a:extLst>
              <a:ext uri="{FF2B5EF4-FFF2-40B4-BE49-F238E27FC236}">
                <a16:creationId xmlns:a16="http://schemas.microsoft.com/office/drawing/2014/main" id="{8C9082B6-F2C6-4810-86C6-0976817BB49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AA5E62DA-32CC-4CCB-A5F5-41A6438604B2}"/>
              </a:ext>
            </a:extLst>
          </p:cNvPr>
          <p:cNvSpPr>
            <a:spLocks noGrp="1"/>
          </p:cNvSpPr>
          <p:nvPr>
            <p:ph type="sldNum" sz="quarter" idx="12"/>
          </p:nvPr>
        </p:nvSpPr>
        <p:spPr/>
        <p:txBody>
          <a:bodyPr/>
          <a:lstStyle/>
          <a:p>
            <a:fld id="{056E43C7-3825-4ACE-A229-2F17C68B0FF2}" type="slidenum">
              <a:rPr lang="nb-NO" smtClean="0"/>
              <a:t>‹#›</a:t>
            </a:fld>
            <a:endParaRPr lang="nb-NO"/>
          </a:p>
        </p:txBody>
      </p:sp>
    </p:spTree>
    <p:extLst>
      <p:ext uri="{BB962C8B-B14F-4D97-AF65-F5344CB8AC3E}">
        <p14:creationId xmlns:p14="http://schemas.microsoft.com/office/powerpoint/2010/main" val="38196977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C4A7DBC0-0A1C-4976-8E5D-FD68425072A8}"/>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80F48F06-A2F0-423F-8749-DEF33FD48EB7}"/>
              </a:ext>
            </a:extLst>
          </p:cNvPr>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7CCAE2EF-08DC-471B-9B8A-577C550DAC78}"/>
              </a:ext>
            </a:extLst>
          </p:cNvPr>
          <p:cNvSpPr>
            <a:spLocks noGrp="1"/>
          </p:cNvSpPr>
          <p:nvPr>
            <p:ph type="dt" sz="half" idx="10"/>
          </p:nvPr>
        </p:nvSpPr>
        <p:spPr/>
        <p:txBody>
          <a:bodyPr/>
          <a:lstStyle/>
          <a:p>
            <a:fld id="{06D1ACE3-ACEF-4CC6-B351-F6EAB23783E4}" type="datetimeFigureOut">
              <a:rPr lang="nb-NO" smtClean="0"/>
              <a:t>23.09.2021</a:t>
            </a:fld>
            <a:endParaRPr lang="nb-NO"/>
          </a:p>
        </p:txBody>
      </p:sp>
      <p:sp>
        <p:nvSpPr>
          <p:cNvPr id="5" name="Plassholder for bunntekst 4">
            <a:extLst>
              <a:ext uri="{FF2B5EF4-FFF2-40B4-BE49-F238E27FC236}">
                <a16:creationId xmlns:a16="http://schemas.microsoft.com/office/drawing/2014/main" id="{A71CB1DA-B7E7-47FF-9F80-803FB0EC60B2}"/>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58C396B7-2D11-4C63-BB5B-F58C355C5D0C}"/>
              </a:ext>
            </a:extLst>
          </p:cNvPr>
          <p:cNvSpPr>
            <a:spLocks noGrp="1"/>
          </p:cNvSpPr>
          <p:nvPr>
            <p:ph type="sldNum" sz="quarter" idx="12"/>
          </p:nvPr>
        </p:nvSpPr>
        <p:spPr/>
        <p:txBody>
          <a:bodyPr/>
          <a:lstStyle/>
          <a:p>
            <a:fld id="{056E43C7-3825-4ACE-A229-2F17C68B0FF2}" type="slidenum">
              <a:rPr lang="nb-NO" smtClean="0"/>
              <a:t>‹#›</a:t>
            </a:fld>
            <a:endParaRPr lang="nb-NO"/>
          </a:p>
        </p:txBody>
      </p:sp>
    </p:spTree>
    <p:extLst>
      <p:ext uri="{BB962C8B-B14F-4D97-AF65-F5344CB8AC3E}">
        <p14:creationId xmlns:p14="http://schemas.microsoft.com/office/powerpoint/2010/main" val="31697627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A40A18-3B48-1B49-BB24-AE81EF7CB653}"/>
              </a:ext>
            </a:extLst>
          </p:cNvPr>
          <p:cNvSpPr>
            <a:spLocks noGrp="1"/>
          </p:cNvSpPr>
          <p:nvPr>
            <p:ph type="title" hasCustomPrompt="1"/>
          </p:nvPr>
        </p:nvSpPr>
        <p:spPr>
          <a:xfrm>
            <a:off x="838200" y="466725"/>
            <a:ext cx="7968049" cy="498475"/>
          </a:xfrm>
        </p:spPr>
        <p:txBody>
          <a:bodyPr/>
          <a:lstStyle/>
          <a:p>
            <a:r>
              <a:rPr lang="en-GB"/>
              <a:t>Click here to add title</a:t>
            </a:r>
            <a:endParaRPr lang="en-US"/>
          </a:p>
        </p:txBody>
      </p:sp>
      <p:sp>
        <p:nvSpPr>
          <p:cNvPr id="3" name="Content Placeholder 2">
            <a:extLst>
              <a:ext uri="{FF2B5EF4-FFF2-40B4-BE49-F238E27FC236}">
                <a16:creationId xmlns:a16="http://schemas.microsoft.com/office/drawing/2014/main" id="{BCF0ED67-F162-5B42-82FF-9B05CF93ACB6}"/>
              </a:ext>
            </a:extLst>
          </p:cNvPr>
          <p:cNvSpPr>
            <a:spLocks noGrp="1"/>
          </p:cNvSpPr>
          <p:nvPr>
            <p:ph sz="half" idx="1"/>
          </p:nvPr>
        </p:nvSpPr>
        <p:spPr>
          <a:xfrm>
            <a:off x="838200" y="1655805"/>
            <a:ext cx="5181600" cy="45211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7A853D2-3DFF-E04F-941E-2F61A2F2A3A7}"/>
              </a:ext>
            </a:extLst>
          </p:cNvPr>
          <p:cNvSpPr>
            <a:spLocks noGrp="1"/>
          </p:cNvSpPr>
          <p:nvPr>
            <p:ph sz="half" idx="2"/>
          </p:nvPr>
        </p:nvSpPr>
        <p:spPr>
          <a:xfrm>
            <a:off x="6172200" y="1655805"/>
            <a:ext cx="5181600" cy="452115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05AEF902-6244-2E4B-AF15-358A52140E3F}"/>
              </a:ext>
            </a:extLst>
          </p:cNvPr>
          <p:cNvSpPr>
            <a:spLocks noGrp="1"/>
          </p:cNvSpPr>
          <p:nvPr>
            <p:ph type="ftr" sz="quarter" idx="11"/>
          </p:nvPr>
        </p:nvSpPr>
        <p:spPr/>
        <p:txBody>
          <a:bodyPr/>
          <a:lstStyle/>
          <a:p>
            <a:r>
              <a:rPr lang="en-AU"/>
              <a:t>National Offshore Petroleum Safety and Environmental Management Authority</a:t>
            </a:r>
          </a:p>
        </p:txBody>
      </p:sp>
      <p:sp>
        <p:nvSpPr>
          <p:cNvPr id="7" name="Slide Number Placeholder 6">
            <a:extLst>
              <a:ext uri="{FF2B5EF4-FFF2-40B4-BE49-F238E27FC236}">
                <a16:creationId xmlns:a16="http://schemas.microsoft.com/office/drawing/2014/main" id="{70F1B1A1-E4DB-2945-9170-26539E9E6BC8}"/>
              </a:ext>
            </a:extLst>
          </p:cNvPr>
          <p:cNvSpPr>
            <a:spLocks noGrp="1"/>
          </p:cNvSpPr>
          <p:nvPr>
            <p:ph type="sldNum" sz="quarter" idx="12"/>
          </p:nvPr>
        </p:nvSpPr>
        <p:spPr/>
        <p:txBody>
          <a:bodyPr/>
          <a:lstStyle/>
          <a:p>
            <a:fld id="{EBCD09FE-7CD6-CE43-8172-0ED2CBC875B6}" type="slidenum">
              <a:rPr lang="en-US" smtClean="0"/>
              <a:t>‹#›</a:t>
            </a:fld>
            <a:endParaRPr lang="en-US"/>
          </a:p>
        </p:txBody>
      </p:sp>
      <p:sp>
        <p:nvSpPr>
          <p:cNvPr id="8" name="Text Placeholder 7">
            <a:extLst>
              <a:ext uri="{FF2B5EF4-FFF2-40B4-BE49-F238E27FC236}">
                <a16:creationId xmlns:a16="http://schemas.microsoft.com/office/drawing/2014/main" id="{E6A4A06B-FE58-A642-89A9-7D770EFDF7F7}"/>
              </a:ext>
            </a:extLst>
          </p:cNvPr>
          <p:cNvSpPr>
            <a:spLocks noGrp="1"/>
          </p:cNvSpPr>
          <p:nvPr>
            <p:ph type="body" sz="quarter" idx="13" hasCustomPrompt="1"/>
          </p:nvPr>
        </p:nvSpPr>
        <p:spPr>
          <a:xfrm>
            <a:off x="838200" y="981929"/>
            <a:ext cx="7968049" cy="369253"/>
          </a:xfrm>
        </p:spPr>
        <p:txBody>
          <a:bodyPr>
            <a:normAutofit/>
          </a:bodyPr>
          <a:lstStyle>
            <a:lvl1pPr>
              <a:defRPr sz="2000"/>
            </a:lvl1pPr>
          </a:lstStyle>
          <a:p>
            <a:pPr lvl="0"/>
            <a:r>
              <a:rPr lang="en-GB"/>
              <a:t>Click here to add subtitle</a:t>
            </a:r>
            <a:endParaRPr lang="en-US"/>
          </a:p>
        </p:txBody>
      </p:sp>
    </p:spTree>
    <p:extLst>
      <p:ext uri="{BB962C8B-B14F-4D97-AF65-F5344CB8AC3E}">
        <p14:creationId xmlns:p14="http://schemas.microsoft.com/office/powerpoint/2010/main" val="9139077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5A6B794-C56C-4B28-99A5-373239A22B06}"/>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5D09614D-8601-47E5-B221-1985B5ED75A4}"/>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FC5D599-2B26-473C-AC1C-83D8D1F5CF68}"/>
              </a:ext>
            </a:extLst>
          </p:cNvPr>
          <p:cNvSpPr>
            <a:spLocks noGrp="1"/>
          </p:cNvSpPr>
          <p:nvPr>
            <p:ph type="dt" sz="half" idx="10"/>
          </p:nvPr>
        </p:nvSpPr>
        <p:spPr/>
        <p:txBody>
          <a:bodyPr/>
          <a:lstStyle/>
          <a:p>
            <a:fld id="{06D1ACE3-ACEF-4CC6-B351-F6EAB23783E4}" type="datetimeFigureOut">
              <a:rPr lang="nb-NO" smtClean="0"/>
              <a:t>23.09.2021</a:t>
            </a:fld>
            <a:endParaRPr lang="nb-NO"/>
          </a:p>
        </p:txBody>
      </p:sp>
      <p:sp>
        <p:nvSpPr>
          <p:cNvPr id="5" name="Plassholder for bunntekst 4">
            <a:extLst>
              <a:ext uri="{FF2B5EF4-FFF2-40B4-BE49-F238E27FC236}">
                <a16:creationId xmlns:a16="http://schemas.microsoft.com/office/drawing/2014/main" id="{0F666F5D-6A39-4E5F-AB4D-E13B40FE487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6A6E92D3-52F2-4E3E-A3BD-3852C1D3CF96}"/>
              </a:ext>
            </a:extLst>
          </p:cNvPr>
          <p:cNvSpPr>
            <a:spLocks noGrp="1"/>
          </p:cNvSpPr>
          <p:nvPr>
            <p:ph type="sldNum" sz="quarter" idx="12"/>
          </p:nvPr>
        </p:nvSpPr>
        <p:spPr/>
        <p:txBody>
          <a:bodyPr/>
          <a:lstStyle/>
          <a:p>
            <a:fld id="{056E43C7-3825-4ACE-A229-2F17C68B0FF2}" type="slidenum">
              <a:rPr lang="nb-NO" smtClean="0"/>
              <a:t>‹#›</a:t>
            </a:fld>
            <a:endParaRPr lang="nb-NO"/>
          </a:p>
        </p:txBody>
      </p:sp>
    </p:spTree>
    <p:extLst>
      <p:ext uri="{BB962C8B-B14F-4D97-AF65-F5344CB8AC3E}">
        <p14:creationId xmlns:p14="http://schemas.microsoft.com/office/powerpoint/2010/main" val="201018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93864D6-5187-436F-97A1-0F922847A60D}"/>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D1356A9E-FF5A-4DA4-A306-F779962C363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E0DB18A6-F4F6-47B2-ABC3-FFAB861BAF43}"/>
              </a:ext>
            </a:extLst>
          </p:cNvPr>
          <p:cNvSpPr>
            <a:spLocks noGrp="1"/>
          </p:cNvSpPr>
          <p:nvPr>
            <p:ph type="dt" sz="half" idx="10"/>
          </p:nvPr>
        </p:nvSpPr>
        <p:spPr/>
        <p:txBody>
          <a:bodyPr/>
          <a:lstStyle/>
          <a:p>
            <a:fld id="{06D1ACE3-ACEF-4CC6-B351-F6EAB23783E4}" type="datetimeFigureOut">
              <a:rPr lang="nb-NO" smtClean="0"/>
              <a:t>23.09.2021</a:t>
            </a:fld>
            <a:endParaRPr lang="nb-NO"/>
          </a:p>
        </p:txBody>
      </p:sp>
      <p:sp>
        <p:nvSpPr>
          <p:cNvPr id="5" name="Plassholder for bunntekst 4">
            <a:extLst>
              <a:ext uri="{FF2B5EF4-FFF2-40B4-BE49-F238E27FC236}">
                <a16:creationId xmlns:a16="http://schemas.microsoft.com/office/drawing/2014/main" id="{D7DB4D26-E033-4D7A-A0EA-1CDA252722A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C32EB263-04E7-4CFA-931C-6A6142BE6F9E}"/>
              </a:ext>
            </a:extLst>
          </p:cNvPr>
          <p:cNvSpPr>
            <a:spLocks noGrp="1"/>
          </p:cNvSpPr>
          <p:nvPr>
            <p:ph type="sldNum" sz="quarter" idx="12"/>
          </p:nvPr>
        </p:nvSpPr>
        <p:spPr/>
        <p:txBody>
          <a:bodyPr/>
          <a:lstStyle/>
          <a:p>
            <a:fld id="{056E43C7-3825-4ACE-A229-2F17C68B0FF2}" type="slidenum">
              <a:rPr lang="nb-NO" smtClean="0"/>
              <a:t>‹#›</a:t>
            </a:fld>
            <a:endParaRPr lang="nb-NO"/>
          </a:p>
        </p:txBody>
      </p:sp>
    </p:spTree>
    <p:extLst>
      <p:ext uri="{BB962C8B-B14F-4D97-AF65-F5344CB8AC3E}">
        <p14:creationId xmlns:p14="http://schemas.microsoft.com/office/powerpoint/2010/main" val="22194266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0F6C2FC-3BD6-402F-96D1-C851637C8780}"/>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F5EADF6C-93AE-49EC-802E-51216BB515E6}"/>
              </a:ext>
            </a:extLst>
          </p:cNvPr>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5FC8D650-6731-4F20-9818-788741700E4A}"/>
              </a:ext>
            </a:extLst>
          </p:cNvPr>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C254C6A0-85A8-4D49-809B-3072FF01A8DC}"/>
              </a:ext>
            </a:extLst>
          </p:cNvPr>
          <p:cNvSpPr>
            <a:spLocks noGrp="1"/>
          </p:cNvSpPr>
          <p:nvPr>
            <p:ph type="dt" sz="half" idx="10"/>
          </p:nvPr>
        </p:nvSpPr>
        <p:spPr/>
        <p:txBody>
          <a:bodyPr/>
          <a:lstStyle/>
          <a:p>
            <a:fld id="{06D1ACE3-ACEF-4CC6-B351-F6EAB23783E4}" type="datetimeFigureOut">
              <a:rPr lang="nb-NO" smtClean="0"/>
              <a:t>23.09.2021</a:t>
            </a:fld>
            <a:endParaRPr lang="nb-NO"/>
          </a:p>
        </p:txBody>
      </p:sp>
      <p:sp>
        <p:nvSpPr>
          <p:cNvPr id="6" name="Plassholder for bunntekst 5">
            <a:extLst>
              <a:ext uri="{FF2B5EF4-FFF2-40B4-BE49-F238E27FC236}">
                <a16:creationId xmlns:a16="http://schemas.microsoft.com/office/drawing/2014/main" id="{860B3D39-25F5-4374-8517-41BEFD459CF0}"/>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E7B2B882-9A56-4313-87C2-024A866EA69E}"/>
              </a:ext>
            </a:extLst>
          </p:cNvPr>
          <p:cNvSpPr>
            <a:spLocks noGrp="1"/>
          </p:cNvSpPr>
          <p:nvPr>
            <p:ph type="sldNum" sz="quarter" idx="12"/>
          </p:nvPr>
        </p:nvSpPr>
        <p:spPr/>
        <p:txBody>
          <a:bodyPr/>
          <a:lstStyle/>
          <a:p>
            <a:fld id="{056E43C7-3825-4ACE-A229-2F17C68B0FF2}" type="slidenum">
              <a:rPr lang="nb-NO" smtClean="0"/>
              <a:t>‹#›</a:t>
            </a:fld>
            <a:endParaRPr lang="nb-NO"/>
          </a:p>
        </p:txBody>
      </p:sp>
    </p:spTree>
    <p:extLst>
      <p:ext uri="{BB962C8B-B14F-4D97-AF65-F5344CB8AC3E}">
        <p14:creationId xmlns:p14="http://schemas.microsoft.com/office/powerpoint/2010/main" val="15828365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FBFBE70-67F9-40AE-B483-0F362994ADCD}"/>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80AA180E-EE60-4AC5-85A9-785BBBF7EE7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D950AD22-0207-462F-AA6E-BC7C2E538515}"/>
              </a:ext>
            </a:extLst>
          </p:cNvPr>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6067088D-1F5B-4394-9124-28F0C45928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00E27077-89BE-4654-88F4-578551914954}"/>
              </a:ext>
            </a:extLst>
          </p:cNvPr>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A1A3BF4B-06CF-473C-804D-70CF6BE3D563}"/>
              </a:ext>
            </a:extLst>
          </p:cNvPr>
          <p:cNvSpPr>
            <a:spLocks noGrp="1"/>
          </p:cNvSpPr>
          <p:nvPr>
            <p:ph type="dt" sz="half" idx="10"/>
          </p:nvPr>
        </p:nvSpPr>
        <p:spPr/>
        <p:txBody>
          <a:bodyPr/>
          <a:lstStyle/>
          <a:p>
            <a:fld id="{06D1ACE3-ACEF-4CC6-B351-F6EAB23783E4}" type="datetimeFigureOut">
              <a:rPr lang="nb-NO" smtClean="0"/>
              <a:t>23.09.2021</a:t>
            </a:fld>
            <a:endParaRPr lang="nb-NO"/>
          </a:p>
        </p:txBody>
      </p:sp>
      <p:sp>
        <p:nvSpPr>
          <p:cNvPr id="8" name="Plassholder for bunntekst 7">
            <a:extLst>
              <a:ext uri="{FF2B5EF4-FFF2-40B4-BE49-F238E27FC236}">
                <a16:creationId xmlns:a16="http://schemas.microsoft.com/office/drawing/2014/main" id="{87755BFB-3217-4F2A-886A-9FDE1011B3D6}"/>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3A21EE30-BA45-4859-A25C-5D8E1BD4985B}"/>
              </a:ext>
            </a:extLst>
          </p:cNvPr>
          <p:cNvSpPr>
            <a:spLocks noGrp="1"/>
          </p:cNvSpPr>
          <p:nvPr>
            <p:ph type="sldNum" sz="quarter" idx="12"/>
          </p:nvPr>
        </p:nvSpPr>
        <p:spPr/>
        <p:txBody>
          <a:bodyPr/>
          <a:lstStyle/>
          <a:p>
            <a:fld id="{056E43C7-3825-4ACE-A229-2F17C68B0FF2}" type="slidenum">
              <a:rPr lang="nb-NO" smtClean="0"/>
              <a:t>‹#›</a:t>
            </a:fld>
            <a:endParaRPr lang="nb-NO"/>
          </a:p>
        </p:txBody>
      </p:sp>
    </p:spTree>
    <p:extLst>
      <p:ext uri="{BB962C8B-B14F-4D97-AF65-F5344CB8AC3E}">
        <p14:creationId xmlns:p14="http://schemas.microsoft.com/office/powerpoint/2010/main" val="37930355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0523B2C-CF3B-45A0-96D6-E258C968A3AB}"/>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8F91B6FF-DF41-40AE-870A-27364B3D8C01}"/>
              </a:ext>
            </a:extLst>
          </p:cNvPr>
          <p:cNvSpPr>
            <a:spLocks noGrp="1"/>
          </p:cNvSpPr>
          <p:nvPr>
            <p:ph type="dt" sz="half" idx="10"/>
          </p:nvPr>
        </p:nvSpPr>
        <p:spPr/>
        <p:txBody>
          <a:bodyPr/>
          <a:lstStyle/>
          <a:p>
            <a:fld id="{06D1ACE3-ACEF-4CC6-B351-F6EAB23783E4}" type="datetimeFigureOut">
              <a:rPr lang="nb-NO" smtClean="0"/>
              <a:t>23.09.2021</a:t>
            </a:fld>
            <a:endParaRPr lang="nb-NO"/>
          </a:p>
        </p:txBody>
      </p:sp>
      <p:sp>
        <p:nvSpPr>
          <p:cNvPr id="4" name="Plassholder for bunntekst 3">
            <a:extLst>
              <a:ext uri="{FF2B5EF4-FFF2-40B4-BE49-F238E27FC236}">
                <a16:creationId xmlns:a16="http://schemas.microsoft.com/office/drawing/2014/main" id="{5E545B20-7820-4069-B638-94F53E85A39A}"/>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C8C8D02F-B5EA-41EB-B5DE-79563268DFBD}"/>
              </a:ext>
            </a:extLst>
          </p:cNvPr>
          <p:cNvSpPr>
            <a:spLocks noGrp="1"/>
          </p:cNvSpPr>
          <p:nvPr>
            <p:ph type="sldNum" sz="quarter" idx="12"/>
          </p:nvPr>
        </p:nvSpPr>
        <p:spPr/>
        <p:txBody>
          <a:bodyPr/>
          <a:lstStyle/>
          <a:p>
            <a:fld id="{056E43C7-3825-4ACE-A229-2F17C68B0FF2}" type="slidenum">
              <a:rPr lang="nb-NO" smtClean="0"/>
              <a:t>‹#›</a:t>
            </a:fld>
            <a:endParaRPr lang="nb-NO"/>
          </a:p>
        </p:txBody>
      </p:sp>
    </p:spTree>
    <p:extLst>
      <p:ext uri="{BB962C8B-B14F-4D97-AF65-F5344CB8AC3E}">
        <p14:creationId xmlns:p14="http://schemas.microsoft.com/office/powerpoint/2010/main" val="12597135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926BC0F5-B595-4533-9823-D5D222079BB2}"/>
              </a:ext>
            </a:extLst>
          </p:cNvPr>
          <p:cNvSpPr>
            <a:spLocks noGrp="1"/>
          </p:cNvSpPr>
          <p:nvPr>
            <p:ph type="dt" sz="half" idx="10"/>
          </p:nvPr>
        </p:nvSpPr>
        <p:spPr/>
        <p:txBody>
          <a:bodyPr/>
          <a:lstStyle/>
          <a:p>
            <a:fld id="{06D1ACE3-ACEF-4CC6-B351-F6EAB23783E4}" type="datetimeFigureOut">
              <a:rPr lang="nb-NO" smtClean="0"/>
              <a:t>23.09.2021</a:t>
            </a:fld>
            <a:endParaRPr lang="nb-NO"/>
          </a:p>
        </p:txBody>
      </p:sp>
      <p:sp>
        <p:nvSpPr>
          <p:cNvPr id="3" name="Plassholder for bunntekst 2">
            <a:extLst>
              <a:ext uri="{FF2B5EF4-FFF2-40B4-BE49-F238E27FC236}">
                <a16:creationId xmlns:a16="http://schemas.microsoft.com/office/drawing/2014/main" id="{A6EE728B-DA54-4DB3-9160-D7E7D47C656B}"/>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C8C234CF-D989-4A80-8666-4C7A58F40907}"/>
              </a:ext>
            </a:extLst>
          </p:cNvPr>
          <p:cNvSpPr>
            <a:spLocks noGrp="1"/>
          </p:cNvSpPr>
          <p:nvPr>
            <p:ph type="sldNum" sz="quarter" idx="12"/>
          </p:nvPr>
        </p:nvSpPr>
        <p:spPr/>
        <p:txBody>
          <a:bodyPr/>
          <a:lstStyle/>
          <a:p>
            <a:fld id="{056E43C7-3825-4ACE-A229-2F17C68B0FF2}" type="slidenum">
              <a:rPr lang="nb-NO" smtClean="0"/>
              <a:t>‹#›</a:t>
            </a:fld>
            <a:endParaRPr lang="nb-NO"/>
          </a:p>
        </p:txBody>
      </p:sp>
    </p:spTree>
    <p:extLst>
      <p:ext uri="{BB962C8B-B14F-4D97-AF65-F5344CB8AC3E}">
        <p14:creationId xmlns:p14="http://schemas.microsoft.com/office/powerpoint/2010/main" val="19193109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E27F216-6CAD-4EB9-887D-535922C18217}"/>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3C0066BB-7237-4D85-B6EB-1638AF079E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E444BB00-1EE2-497F-B8CD-C6830A2A0E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89B45B29-E692-435D-AADC-CFE824431223}"/>
              </a:ext>
            </a:extLst>
          </p:cNvPr>
          <p:cNvSpPr>
            <a:spLocks noGrp="1"/>
          </p:cNvSpPr>
          <p:nvPr>
            <p:ph type="dt" sz="half" idx="10"/>
          </p:nvPr>
        </p:nvSpPr>
        <p:spPr/>
        <p:txBody>
          <a:bodyPr/>
          <a:lstStyle/>
          <a:p>
            <a:fld id="{06D1ACE3-ACEF-4CC6-B351-F6EAB23783E4}" type="datetimeFigureOut">
              <a:rPr lang="nb-NO" smtClean="0"/>
              <a:t>23.09.2021</a:t>
            </a:fld>
            <a:endParaRPr lang="nb-NO"/>
          </a:p>
        </p:txBody>
      </p:sp>
      <p:sp>
        <p:nvSpPr>
          <p:cNvPr id="6" name="Plassholder for bunntekst 5">
            <a:extLst>
              <a:ext uri="{FF2B5EF4-FFF2-40B4-BE49-F238E27FC236}">
                <a16:creationId xmlns:a16="http://schemas.microsoft.com/office/drawing/2014/main" id="{E083D20F-DC07-4BBB-B523-028C0FA1B73A}"/>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E2301C08-08D7-47D5-BE93-1F509FE3A929}"/>
              </a:ext>
            </a:extLst>
          </p:cNvPr>
          <p:cNvSpPr>
            <a:spLocks noGrp="1"/>
          </p:cNvSpPr>
          <p:nvPr>
            <p:ph type="sldNum" sz="quarter" idx="12"/>
          </p:nvPr>
        </p:nvSpPr>
        <p:spPr/>
        <p:txBody>
          <a:bodyPr/>
          <a:lstStyle/>
          <a:p>
            <a:fld id="{056E43C7-3825-4ACE-A229-2F17C68B0FF2}" type="slidenum">
              <a:rPr lang="nb-NO" smtClean="0"/>
              <a:t>‹#›</a:t>
            </a:fld>
            <a:endParaRPr lang="nb-NO"/>
          </a:p>
        </p:txBody>
      </p:sp>
    </p:spTree>
    <p:extLst>
      <p:ext uri="{BB962C8B-B14F-4D97-AF65-F5344CB8AC3E}">
        <p14:creationId xmlns:p14="http://schemas.microsoft.com/office/powerpoint/2010/main" val="23010601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075DC65-9E27-4B4C-9BBE-94CE9BD0E875}"/>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2C2B4A3E-947F-4999-97A9-C9659EA551E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EBCB4330-0813-420A-9A0A-55CC22AD51A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B1677CB0-427C-4E7E-977C-331B2BF81028}"/>
              </a:ext>
            </a:extLst>
          </p:cNvPr>
          <p:cNvSpPr>
            <a:spLocks noGrp="1"/>
          </p:cNvSpPr>
          <p:nvPr>
            <p:ph type="dt" sz="half" idx="10"/>
          </p:nvPr>
        </p:nvSpPr>
        <p:spPr/>
        <p:txBody>
          <a:bodyPr/>
          <a:lstStyle/>
          <a:p>
            <a:fld id="{06D1ACE3-ACEF-4CC6-B351-F6EAB23783E4}" type="datetimeFigureOut">
              <a:rPr lang="nb-NO" smtClean="0"/>
              <a:t>23.09.2021</a:t>
            </a:fld>
            <a:endParaRPr lang="nb-NO"/>
          </a:p>
        </p:txBody>
      </p:sp>
      <p:sp>
        <p:nvSpPr>
          <p:cNvPr id="6" name="Plassholder for bunntekst 5">
            <a:extLst>
              <a:ext uri="{FF2B5EF4-FFF2-40B4-BE49-F238E27FC236}">
                <a16:creationId xmlns:a16="http://schemas.microsoft.com/office/drawing/2014/main" id="{BBE5EEC3-CCBC-4496-A837-2815825DE867}"/>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3E3379DD-F8FA-49CC-8B92-C6E5E347A901}"/>
              </a:ext>
            </a:extLst>
          </p:cNvPr>
          <p:cNvSpPr>
            <a:spLocks noGrp="1"/>
          </p:cNvSpPr>
          <p:nvPr>
            <p:ph type="sldNum" sz="quarter" idx="12"/>
          </p:nvPr>
        </p:nvSpPr>
        <p:spPr/>
        <p:txBody>
          <a:bodyPr/>
          <a:lstStyle/>
          <a:p>
            <a:fld id="{056E43C7-3825-4ACE-A229-2F17C68B0FF2}" type="slidenum">
              <a:rPr lang="nb-NO" smtClean="0"/>
              <a:t>‹#›</a:t>
            </a:fld>
            <a:endParaRPr lang="nb-NO"/>
          </a:p>
        </p:txBody>
      </p:sp>
    </p:spTree>
    <p:extLst>
      <p:ext uri="{BB962C8B-B14F-4D97-AF65-F5344CB8AC3E}">
        <p14:creationId xmlns:p14="http://schemas.microsoft.com/office/powerpoint/2010/main" val="8209079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6E9276AF-742D-4D67-9E0F-14D3540C882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D610EB5C-6DF6-49FE-AB57-1C6EC2EF863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BDB7A3F9-2963-4552-AD95-C3F3D2804D9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D1ACE3-ACEF-4CC6-B351-F6EAB23783E4}" type="datetimeFigureOut">
              <a:rPr lang="nb-NO" smtClean="0"/>
              <a:t>23.09.2021</a:t>
            </a:fld>
            <a:endParaRPr lang="nb-NO"/>
          </a:p>
        </p:txBody>
      </p:sp>
      <p:sp>
        <p:nvSpPr>
          <p:cNvPr id="5" name="Plassholder for bunntekst 4">
            <a:extLst>
              <a:ext uri="{FF2B5EF4-FFF2-40B4-BE49-F238E27FC236}">
                <a16:creationId xmlns:a16="http://schemas.microsoft.com/office/drawing/2014/main" id="{D8AC855F-0F03-4AF9-8229-045890DB377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D237AC40-5468-49B1-8A27-2D7F5CE5864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56E43C7-3825-4ACE-A229-2F17C68B0FF2}" type="slidenum">
              <a:rPr lang="nb-NO" smtClean="0"/>
              <a:t>‹#›</a:t>
            </a:fld>
            <a:endParaRPr lang="nb-NO"/>
          </a:p>
        </p:txBody>
      </p:sp>
    </p:spTree>
    <p:extLst>
      <p:ext uri="{BB962C8B-B14F-4D97-AF65-F5344CB8AC3E}">
        <p14:creationId xmlns:p14="http://schemas.microsoft.com/office/powerpoint/2010/main" val="7844744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Layout" Target="../slideLayouts/slideLayout2.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emf"/><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1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 Id="rId9" Type="http://schemas.openxmlformats.org/officeDocument/2006/relationships/image" Target="../media/image14.png"/></Relationships>
</file>

<file path=ppt/slides/_rels/slide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EEED2BB-291A-4341-892D-F3EC1475A79D}"/>
              </a:ext>
            </a:extLst>
          </p:cNvPr>
          <p:cNvSpPr>
            <a:spLocks noGrp="1"/>
          </p:cNvSpPr>
          <p:nvPr>
            <p:ph type="ctrTitle"/>
          </p:nvPr>
        </p:nvSpPr>
        <p:spPr>
          <a:xfrm>
            <a:off x="1857375" y="3209925"/>
            <a:ext cx="9448800" cy="1886510"/>
          </a:xfrm>
        </p:spPr>
        <p:txBody>
          <a:bodyPr>
            <a:normAutofit fontScale="90000"/>
          </a:bodyPr>
          <a:lstStyle/>
          <a:p>
            <a:r>
              <a:rPr lang="nb-NO" sz="1800" b="0" i="0" u="none" strike="noStrike" baseline="0" dirty="0">
                <a:solidFill>
                  <a:srgbClr val="000000"/>
                </a:solidFill>
                <a:latin typeface="Arial" panose="020B0604020202020204" pitchFamily="34" charset="0"/>
              </a:rPr>
              <a:t/>
            </a:r>
            <a:br>
              <a:rPr lang="nb-NO" sz="1800" b="0" i="0" u="none" strike="noStrike" baseline="0" dirty="0">
                <a:solidFill>
                  <a:srgbClr val="000000"/>
                </a:solidFill>
                <a:latin typeface="Arial" panose="020B0604020202020204" pitchFamily="34" charset="0"/>
              </a:rPr>
            </a:br>
            <a:r>
              <a:rPr lang="nb-NO" sz="1800" b="0" i="0" u="none" strike="noStrike" baseline="0" dirty="0">
                <a:latin typeface="Arial" panose="020B0604020202020204" pitchFamily="34" charset="0"/>
              </a:rPr>
              <a:t/>
            </a:r>
            <a:br>
              <a:rPr lang="nb-NO" sz="1800" b="0" i="0" u="none" strike="noStrike" baseline="0" dirty="0">
                <a:latin typeface="Arial" panose="020B0604020202020204" pitchFamily="34" charset="0"/>
              </a:rPr>
            </a:br>
            <a:r>
              <a:rPr lang="nb-NO" sz="4400" b="0" i="0" u="none" strike="noStrike" baseline="0" dirty="0">
                <a:solidFill>
                  <a:schemeClr val="accent1">
                    <a:lumMod val="50000"/>
                  </a:schemeClr>
                </a:solidFill>
                <a:effectLst>
                  <a:outerShdw blurRad="38100" dist="38100" dir="2700000" algn="tl">
                    <a:srgbClr val="000000">
                      <a:alpha val="43137"/>
                    </a:srgbClr>
                  </a:outerShdw>
                </a:effectLst>
                <a:latin typeface="Arial" panose="020B0604020202020204" pitchFamily="34" charset="0"/>
              </a:rPr>
              <a:t>Digitalisation Problem Statement –</a:t>
            </a:r>
            <a:br>
              <a:rPr lang="nb-NO" sz="4400" b="0" i="0" u="none" strike="noStrike" baseline="0" dirty="0">
                <a:solidFill>
                  <a:schemeClr val="accent1">
                    <a:lumMod val="50000"/>
                  </a:schemeClr>
                </a:solidFill>
                <a:effectLst>
                  <a:outerShdw blurRad="38100" dist="38100" dir="2700000" algn="tl">
                    <a:srgbClr val="000000">
                      <a:alpha val="43137"/>
                    </a:srgbClr>
                  </a:outerShdw>
                </a:effectLst>
                <a:latin typeface="Arial" panose="020B0604020202020204" pitchFamily="34" charset="0"/>
              </a:rPr>
            </a:br>
            <a:r>
              <a:rPr lang="nb-NO" sz="4400" b="0" i="0" u="none" strike="noStrike" baseline="0" dirty="0">
                <a:solidFill>
                  <a:schemeClr val="accent1">
                    <a:lumMod val="50000"/>
                  </a:schemeClr>
                </a:solidFill>
                <a:effectLst>
                  <a:outerShdw blurRad="38100" dist="38100" dir="2700000" algn="tl">
                    <a:srgbClr val="000000">
                      <a:alpha val="43137"/>
                    </a:srgbClr>
                  </a:outerShdw>
                </a:effectLst>
                <a:latin typeface="Arial" panose="020B0604020202020204" pitchFamily="34" charset="0"/>
              </a:rPr>
              <a:t>Briefing </a:t>
            </a:r>
            <a:r>
              <a:rPr lang="nb-NO" sz="4400" b="0" i="0" u="none" strike="noStrike" baseline="0" dirty="0" smtClean="0">
                <a:solidFill>
                  <a:schemeClr val="accent1">
                    <a:lumMod val="50000"/>
                  </a:schemeClr>
                </a:solidFill>
                <a:effectLst>
                  <a:outerShdw blurRad="38100" dist="38100" dir="2700000" algn="tl">
                    <a:srgbClr val="000000">
                      <a:alpha val="43137"/>
                    </a:srgbClr>
                  </a:outerShdw>
                </a:effectLst>
                <a:latin typeface="Arial" panose="020B0604020202020204" pitchFamily="34" charset="0"/>
              </a:rPr>
              <a:t>Pack </a:t>
            </a:r>
            <a:br>
              <a:rPr lang="nb-NO" sz="4400" b="0" i="0" u="none" strike="noStrike" baseline="0" dirty="0" smtClean="0">
                <a:solidFill>
                  <a:schemeClr val="accent1">
                    <a:lumMod val="50000"/>
                  </a:schemeClr>
                </a:solidFill>
                <a:effectLst>
                  <a:outerShdw blurRad="38100" dist="38100" dir="2700000" algn="tl">
                    <a:srgbClr val="000000">
                      <a:alpha val="43137"/>
                    </a:srgbClr>
                  </a:outerShdw>
                </a:effectLst>
                <a:latin typeface="Arial" panose="020B0604020202020204" pitchFamily="34" charset="0"/>
              </a:rPr>
            </a:br>
            <a:r>
              <a:rPr lang="en-AU" sz="2000" dirty="0" smtClean="0">
                <a:solidFill>
                  <a:schemeClr val="accent1">
                    <a:lumMod val="50000"/>
                  </a:schemeClr>
                </a:solidFill>
                <a:effectLst>
                  <a:outerShdw blurRad="38100" dist="38100" dir="2700000" algn="tl">
                    <a:srgbClr val="000000">
                      <a:alpha val="43137"/>
                    </a:srgbClr>
                  </a:outerShdw>
                </a:effectLst>
                <a:latin typeface="Arial" panose="020B0604020202020204" pitchFamily="34" charset="0"/>
              </a:rPr>
              <a:t>September </a:t>
            </a:r>
            <a:r>
              <a:rPr lang="en-AU" sz="2000" b="0" i="0" u="none" strike="noStrike" baseline="0" dirty="0" smtClean="0">
                <a:solidFill>
                  <a:schemeClr val="accent1">
                    <a:lumMod val="50000"/>
                  </a:schemeClr>
                </a:solidFill>
                <a:effectLst>
                  <a:outerShdw blurRad="38100" dist="38100" dir="2700000" algn="tl">
                    <a:srgbClr val="000000">
                      <a:alpha val="43137"/>
                    </a:srgbClr>
                  </a:outerShdw>
                </a:effectLst>
                <a:latin typeface="Arial" panose="020B0604020202020204" pitchFamily="34" charset="0"/>
              </a:rPr>
              <a:t>2021</a:t>
            </a:r>
            <a:r>
              <a:rPr lang="nb-NO" sz="4400" b="0" i="0" u="none" strike="noStrike" baseline="0" dirty="0" smtClean="0">
                <a:solidFill>
                  <a:schemeClr val="accent1">
                    <a:lumMod val="50000"/>
                  </a:schemeClr>
                </a:solidFill>
                <a:effectLst>
                  <a:outerShdw blurRad="38100" dist="38100" dir="2700000" algn="tl">
                    <a:srgbClr val="000000">
                      <a:alpha val="43137"/>
                    </a:srgbClr>
                  </a:outerShdw>
                </a:effectLst>
                <a:latin typeface="Arial" panose="020B0604020202020204" pitchFamily="34" charset="0"/>
              </a:rPr>
              <a:t> </a:t>
            </a:r>
            <a:endParaRPr lang="nb-NO" sz="4400" dirty="0">
              <a:solidFill>
                <a:schemeClr val="accent1">
                  <a:lumMod val="50000"/>
                </a:schemeClr>
              </a:solidFill>
              <a:effectLst>
                <a:outerShdw blurRad="38100" dist="38100" dir="2700000" algn="tl">
                  <a:srgbClr val="000000">
                    <a:alpha val="43137"/>
                  </a:srgbClr>
                </a:outerShdw>
              </a:effectLst>
            </a:endParaRPr>
          </a:p>
        </p:txBody>
      </p:sp>
      <p:pic>
        <p:nvPicPr>
          <p:cNvPr id="5" name="Bilde 4">
            <a:extLst>
              <a:ext uri="{FF2B5EF4-FFF2-40B4-BE49-F238E27FC236}">
                <a16:creationId xmlns:a16="http://schemas.microsoft.com/office/drawing/2014/main" id="{B2B73148-9E74-4B7E-8965-3DE766D567BA}"/>
              </a:ext>
            </a:extLst>
          </p:cNvPr>
          <p:cNvPicPr>
            <a:picLocks noChangeAspect="1"/>
          </p:cNvPicPr>
          <p:nvPr/>
        </p:nvPicPr>
        <p:blipFill>
          <a:blip r:embed="rId2"/>
          <a:stretch>
            <a:fillRect/>
          </a:stretch>
        </p:blipFill>
        <p:spPr>
          <a:xfrm>
            <a:off x="6200274" y="1"/>
            <a:ext cx="5991726" cy="2651511"/>
          </a:xfrm>
          <a:prstGeom prst="rect">
            <a:avLst/>
          </a:prstGeom>
        </p:spPr>
      </p:pic>
      <p:pic>
        <p:nvPicPr>
          <p:cNvPr id="7" name="Bilde 6">
            <a:extLst>
              <a:ext uri="{FF2B5EF4-FFF2-40B4-BE49-F238E27FC236}">
                <a16:creationId xmlns:a16="http://schemas.microsoft.com/office/drawing/2014/main" id="{6DF4228E-4ED6-4C94-A820-9800A7E9191B}"/>
              </a:ext>
            </a:extLst>
          </p:cNvPr>
          <p:cNvPicPr>
            <a:picLocks noChangeAspect="1"/>
          </p:cNvPicPr>
          <p:nvPr/>
        </p:nvPicPr>
        <p:blipFill>
          <a:blip r:embed="rId2"/>
          <a:stretch>
            <a:fillRect/>
          </a:stretch>
        </p:blipFill>
        <p:spPr>
          <a:xfrm>
            <a:off x="257175" y="5585044"/>
            <a:ext cx="2876550" cy="1272956"/>
          </a:xfrm>
          <a:prstGeom prst="rect">
            <a:avLst/>
          </a:prstGeom>
        </p:spPr>
      </p:pic>
    </p:spTree>
    <p:extLst>
      <p:ext uri="{BB962C8B-B14F-4D97-AF65-F5344CB8AC3E}">
        <p14:creationId xmlns:p14="http://schemas.microsoft.com/office/powerpoint/2010/main" val="17962510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76E026D-26C3-4AFD-B483-F5EBE939907E}"/>
              </a:ext>
            </a:extLst>
          </p:cNvPr>
          <p:cNvSpPr>
            <a:spLocks noGrp="1"/>
          </p:cNvSpPr>
          <p:nvPr>
            <p:ph type="title"/>
          </p:nvPr>
        </p:nvSpPr>
        <p:spPr/>
        <p:txBody>
          <a:bodyPr/>
          <a:lstStyle/>
          <a:p>
            <a:r>
              <a:rPr lang="nb-NO" sz="1800" b="0" i="0" u="none" strike="noStrike" baseline="0">
                <a:solidFill>
                  <a:srgbClr val="000000"/>
                </a:solidFill>
                <a:latin typeface="Calibri" panose="020F0502020204030204" pitchFamily="34" charset="0"/>
              </a:rPr>
              <a:t/>
            </a:r>
            <a:br>
              <a:rPr lang="nb-NO" sz="1800" b="0" i="0" u="none" strike="noStrike" baseline="0">
                <a:solidFill>
                  <a:srgbClr val="000000"/>
                </a:solidFill>
                <a:latin typeface="Calibri" panose="020F0502020204030204" pitchFamily="34" charset="0"/>
              </a:rPr>
            </a:br>
            <a:r>
              <a:rPr lang="en-US" sz="2800" b="1" i="0" u="none" strike="noStrike" baseline="0">
                <a:solidFill>
                  <a:schemeClr val="accent1">
                    <a:lumMod val="75000"/>
                  </a:schemeClr>
                </a:solidFill>
                <a:latin typeface="Calibri" panose="020F0502020204030204" pitchFamily="34" charset="0"/>
              </a:rPr>
              <a:t>Which Problems are being tackled </a:t>
            </a:r>
            <a:r>
              <a:rPr lang="en-US" sz="2800" b="0" i="0" u="none" strike="noStrike" baseline="0">
                <a:latin typeface="Calibri" panose="020F0502020204030204" pitchFamily="34" charset="0"/>
              </a:rPr>
              <a:t/>
            </a:r>
            <a:br>
              <a:rPr lang="en-US" sz="2800" b="0" i="0" u="none" strike="noStrike" baseline="0">
                <a:latin typeface="Calibri" panose="020F0502020204030204" pitchFamily="34" charset="0"/>
              </a:rPr>
            </a:br>
            <a:endParaRPr lang="nb-NO" sz="2800"/>
          </a:p>
        </p:txBody>
      </p:sp>
      <p:pic>
        <p:nvPicPr>
          <p:cNvPr id="5" name="Bilde 4">
            <a:extLst>
              <a:ext uri="{FF2B5EF4-FFF2-40B4-BE49-F238E27FC236}">
                <a16:creationId xmlns:a16="http://schemas.microsoft.com/office/drawing/2014/main" id="{AF568540-CB10-46EA-B5B8-C0D46D5D9BB5}"/>
              </a:ext>
            </a:extLst>
          </p:cNvPr>
          <p:cNvPicPr>
            <a:picLocks noChangeAspect="1"/>
          </p:cNvPicPr>
          <p:nvPr/>
        </p:nvPicPr>
        <p:blipFill>
          <a:blip r:embed="rId5"/>
          <a:stretch>
            <a:fillRect/>
          </a:stretch>
        </p:blipFill>
        <p:spPr>
          <a:xfrm>
            <a:off x="7740316" y="138781"/>
            <a:ext cx="4267202" cy="1008230"/>
          </a:xfrm>
          <a:prstGeom prst="rect">
            <a:avLst/>
          </a:prstGeom>
        </p:spPr>
      </p:pic>
      <p:sp>
        <p:nvSpPr>
          <p:cNvPr id="19" name="Rectangle 18">
            <a:extLst>
              <a:ext uri="{FF2B5EF4-FFF2-40B4-BE49-F238E27FC236}">
                <a16:creationId xmlns:a16="http://schemas.microsoft.com/office/drawing/2014/main" id="{B8B7C1CF-11D0-4BDB-BDBE-6FEE1EEA52D8}"/>
              </a:ext>
            </a:extLst>
          </p:cNvPr>
          <p:cNvSpPr/>
          <p:nvPr/>
        </p:nvSpPr>
        <p:spPr>
          <a:xfrm>
            <a:off x="1613512" y="3238412"/>
            <a:ext cx="2706416" cy="2423668"/>
          </a:xfrm>
          <a:prstGeom prst="rect">
            <a:avLst/>
          </a:prstGeom>
          <a:solidFill>
            <a:srgbClr val="3767A0">
              <a:lumMod val="20000"/>
              <a:lumOff val="80000"/>
              <a:alpha val="20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Avenir Book" panose="02000503020000020003" pitchFamily="2" charset="0"/>
              <a:ea typeface="+mn-ea"/>
              <a:cs typeface="+mn-cs"/>
            </a:endParaRPr>
          </a:p>
        </p:txBody>
      </p:sp>
      <p:sp>
        <p:nvSpPr>
          <p:cNvPr id="20" name="Rectangle 19">
            <a:extLst>
              <a:ext uri="{FF2B5EF4-FFF2-40B4-BE49-F238E27FC236}">
                <a16:creationId xmlns:a16="http://schemas.microsoft.com/office/drawing/2014/main" id="{E9D97247-BAA5-4CFB-AA91-689897B7E52D}"/>
              </a:ext>
            </a:extLst>
          </p:cNvPr>
          <p:cNvSpPr/>
          <p:nvPr/>
        </p:nvSpPr>
        <p:spPr>
          <a:xfrm>
            <a:off x="4770521" y="3231114"/>
            <a:ext cx="2798395" cy="2423668"/>
          </a:xfrm>
          <a:prstGeom prst="rect">
            <a:avLst/>
          </a:prstGeom>
          <a:solidFill>
            <a:srgbClr val="3767A0">
              <a:lumMod val="20000"/>
              <a:lumOff val="80000"/>
              <a:alpha val="20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Avenir Book" panose="02000503020000020003" pitchFamily="2" charset="0"/>
              <a:ea typeface="+mn-ea"/>
              <a:cs typeface="+mn-cs"/>
            </a:endParaRPr>
          </a:p>
        </p:txBody>
      </p:sp>
      <p:sp>
        <p:nvSpPr>
          <p:cNvPr id="21" name="Rectangle 20">
            <a:extLst>
              <a:ext uri="{FF2B5EF4-FFF2-40B4-BE49-F238E27FC236}">
                <a16:creationId xmlns:a16="http://schemas.microsoft.com/office/drawing/2014/main" id="{4FCD7FEE-4E15-4650-9E9C-64F6C8A59115}"/>
              </a:ext>
            </a:extLst>
          </p:cNvPr>
          <p:cNvSpPr/>
          <p:nvPr/>
        </p:nvSpPr>
        <p:spPr>
          <a:xfrm>
            <a:off x="7961682" y="3231114"/>
            <a:ext cx="2706416" cy="2423668"/>
          </a:xfrm>
          <a:prstGeom prst="rect">
            <a:avLst/>
          </a:prstGeom>
          <a:solidFill>
            <a:srgbClr val="3767A0">
              <a:lumMod val="20000"/>
              <a:lumOff val="80000"/>
              <a:alpha val="20000"/>
            </a:srgbClr>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FFFFFF"/>
              </a:solidFill>
              <a:effectLst/>
              <a:uLnTx/>
              <a:uFillTx/>
              <a:latin typeface="Avenir Book" panose="02000503020000020003" pitchFamily="2" charset="0"/>
              <a:ea typeface="+mn-ea"/>
              <a:cs typeface="+mn-cs"/>
            </a:endParaRPr>
          </a:p>
        </p:txBody>
      </p:sp>
      <p:sp>
        <p:nvSpPr>
          <p:cNvPr id="22" name="Rectangle 117">
            <a:extLst>
              <a:ext uri="{FF2B5EF4-FFF2-40B4-BE49-F238E27FC236}">
                <a16:creationId xmlns:a16="http://schemas.microsoft.com/office/drawing/2014/main" id="{F6126D2F-A2C4-4EE8-9898-0DB122E1FAD6}"/>
              </a:ext>
            </a:extLst>
          </p:cNvPr>
          <p:cNvSpPr>
            <a:spLocks noChangeArrowheads="1"/>
          </p:cNvSpPr>
          <p:nvPr/>
        </p:nvSpPr>
        <p:spPr bwMode="auto">
          <a:xfrm>
            <a:off x="1730760" y="1490897"/>
            <a:ext cx="8794179" cy="1492838"/>
          </a:xfrm>
          <a:prstGeom prst="rect">
            <a:avLst/>
          </a:prstGeom>
          <a:solidFill>
            <a:srgbClr val="0D2B4E">
              <a:lumMod val="90000"/>
              <a:lumOff val="10000"/>
            </a:srgbClr>
          </a:solidFill>
          <a:ln w="28575">
            <a:solidFill>
              <a:srgbClr val="3767A0"/>
            </a:solidFill>
            <a:round/>
            <a:headEnd/>
            <a:tailEnd/>
          </a:ln>
        </p:spPr>
        <p:txBody>
          <a:bodyPr tIns="144000" bIns="108000" anchor="ctr"/>
          <a:lstStyle/>
          <a:p>
            <a:pPr marL="0" marR="0" lvl="0" indent="0" algn="ctr" defTabSz="826498"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FFFFFF"/>
                </a:solidFill>
                <a:effectLst/>
                <a:uLnTx/>
                <a:uFillTx/>
              </a:rPr>
              <a:t>IRF and industry have prepared the following 3 problem statements to be addressed collaboratively</a:t>
            </a:r>
          </a:p>
          <a:p>
            <a:pPr marL="0" marR="0" lvl="0" indent="0" algn="ctr" defTabSz="826498"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FFFFFF"/>
              </a:solidFill>
              <a:effectLst/>
              <a:uLnTx/>
              <a:uFillTx/>
            </a:endParaRPr>
          </a:p>
          <a:p>
            <a:pPr marL="0" marR="0" lvl="0" indent="0" algn="ctr" defTabSz="826498" eaLnBrk="1" fontAlgn="auto" latinLnBrk="0" hangingPunct="1">
              <a:lnSpc>
                <a:spcPct val="100000"/>
              </a:lnSpc>
              <a:spcBef>
                <a:spcPts val="0"/>
              </a:spcBef>
              <a:spcAft>
                <a:spcPts val="0"/>
              </a:spcAft>
              <a:buClrTx/>
              <a:buSzTx/>
              <a:buFontTx/>
              <a:buNone/>
              <a:tabLst/>
              <a:defRPr/>
            </a:pPr>
            <a:endParaRPr kumimoji="0" lang="en-US" sz="2400" b="1" i="0" u="none" strike="noStrike" kern="0" cap="none" spc="0" normalizeH="0" baseline="0" noProof="0" dirty="0">
              <a:ln>
                <a:noFill/>
              </a:ln>
              <a:solidFill>
                <a:srgbClr val="FFFFFF"/>
              </a:solidFill>
              <a:effectLst/>
              <a:uLnTx/>
              <a:uFillTx/>
            </a:endParaRPr>
          </a:p>
        </p:txBody>
      </p:sp>
      <p:sp>
        <p:nvSpPr>
          <p:cNvPr id="23" name="Rectangle 56">
            <a:extLst>
              <a:ext uri="{FF2B5EF4-FFF2-40B4-BE49-F238E27FC236}">
                <a16:creationId xmlns:a16="http://schemas.microsoft.com/office/drawing/2014/main" id="{BE09FDB8-ADB2-4D3F-8C5D-0B078F4D48AE}"/>
              </a:ext>
            </a:extLst>
          </p:cNvPr>
          <p:cNvSpPr>
            <a:spLocks noChangeArrowheads="1"/>
          </p:cNvSpPr>
          <p:nvPr>
            <p:custDataLst>
              <p:tags r:id="rId1"/>
            </p:custDataLst>
          </p:nvPr>
        </p:nvSpPr>
        <p:spPr bwMode="gray">
          <a:xfrm>
            <a:off x="1605365" y="3277286"/>
            <a:ext cx="2798395" cy="2377828"/>
          </a:xfrm>
          <a:prstGeom prst="rect">
            <a:avLst/>
          </a:prstGeom>
          <a:noFill/>
          <a:ln w="12700">
            <a:noFill/>
            <a:round/>
            <a:headEnd/>
            <a:tailEnd/>
          </a:ln>
        </p:spPr>
        <p:txBody>
          <a:bodyPr lIns="33231" tIns="41356" rIns="33231" bIns="41356"/>
          <a:lstStyle/>
          <a:p>
            <a:pPr marL="342900" marR="0" lvl="0" indent="-342900" defTabSz="914400" eaLnBrk="1" fontAlgn="auto" latinLnBrk="0" hangingPunct="1">
              <a:lnSpc>
                <a:spcPct val="100000"/>
              </a:lnSpc>
              <a:spcBef>
                <a:spcPts val="0"/>
              </a:spcBef>
              <a:spcAft>
                <a:spcPts val="554"/>
              </a:spcAft>
              <a:buClr>
                <a:srgbClr val="B0B0B3"/>
              </a:buClr>
              <a:buSzPts val="1000"/>
              <a:buFont typeface="Symbol" panose="05050102010706020507" pitchFamily="18" charset="2"/>
              <a:buChar char=""/>
              <a:tabLst>
                <a:tab pos="457200" algn="l"/>
              </a:tabLst>
              <a:defRPr/>
            </a:pPr>
            <a:r>
              <a:rPr kumimoji="0" lang="en-US" sz="1800" b="0" i="0" u="none" strike="noStrike" kern="0" cap="none" spc="0" normalizeH="0" baseline="0" noProof="0" dirty="0">
                <a:ln>
                  <a:noFill/>
                </a:ln>
                <a:solidFill>
                  <a:srgbClr val="0D2B4E"/>
                </a:solidFill>
                <a:effectLst/>
                <a:uLnTx/>
                <a:uFillTx/>
              </a:rPr>
              <a:t>Greater emphasis on “left hand side” of well control bow-tie, particularly with regards to PPFG prediction and monitoring</a:t>
            </a:r>
          </a:p>
          <a:p>
            <a:pPr marL="342900" marR="0" lvl="0" indent="-342900" defTabSz="914400" eaLnBrk="1" fontAlgn="auto" latinLnBrk="0" hangingPunct="1">
              <a:lnSpc>
                <a:spcPct val="100000"/>
              </a:lnSpc>
              <a:spcBef>
                <a:spcPts val="0"/>
              </a:spcBef>
              <a:spcAft>
                <a:spcPts val="554"/>
              </a:spcAft>
              <a:buClr>
                <a:srgbClr val="B0B0B3"/>
              </a:buClr>
              <a:buSzPts val="1000"/>
              <a:buFont typeface="Symbol" panose="05050102010706020507" pitchFamily="18" charset="2"/>
              <a:buChar char=""/>
              <a:tabLst>
                <a:tab pos="457200" algn="l"/>
              </a:tabLst>
              <a:defRPr/>
            </a:pPr>
            <a:r>
              <a:rPr kumimoji="0" lang="en-US" sz="1800" b="0" i="0" u="none" strike="noStrike" kern="0" cap="none" spc="0" normalizeH="0" baseline="0" noProof="0" dirty="0">
                <a:ln>
                  <a:noFill/>
                </a:ln>
                <a:solidFill>
                  <a:srgbClr val="0D2B4E"/>
                </a:solidFill>
                <a:effectLst/>
                <a:uLnTx/>
                <a:uFillTx/>
              </a:rPr>
              <a:t>IRF contact: NOPSEMA (Australia) </a:t>
            </a:r>
          </a:p>
        </p:txBody>
      </p:sp>
      <p:sp>
        <p:nvSpPr>
          <p:cNvPr id="24" name="Rectangle 56">
            <a:extLst>
              <a:ext uri="{FF2B5EF4-FFF2-40B4-BE49-F238E27FC236}">
                <a16:creationId xmlns:a16="http://schemas.microsoft.com/office/drawing/2014/main" id="{A305147F-6E85-4C0E-8F6B-445C6FAE78F1}"/>
              </a:ext>
            </a:extLst>
          </p:cNvPr>
          <p:cNvSpPr>
            <a:spLocks noChangeArrowheads="1"/>
          </p:cNvSpPr>
          <p:nvPr>
            <p:custDataLst>
              <p:tags r:id="rId2"/>
            </p:custDataLst>
          </p:nvPr>
        </p:nvSpPr>
        <p:spPr bwMode="gray">
          <a:xfrm>
            <a:off x="4809237" y="3277286"/>
            <a:ext cx="2635535" cy="1713737"/>
          </a:xfrm>
          <a:prstGeom prst="rect">
            <a:avLst/>
          </a:prstGeom>
          <a:noFill/>
          <a:ln w="12700">
            <a:noFill/>
            <a:round/>
            <a:headEnd/>
            <a:tailEnd/>
          </a:ln>
        </p:spPr>
        <p:txBody>
          <a:bodyPr lIns="33231" tIns="41356" rIns="33231" bIns="41356"/>
          <a:lstStyle/>
          <a:p>
            <a:pPr marL="342900" marR="0" lvl="0" indent="-342900" defTabSz="914400" eaLnBrk="1" fontAlgn="auto" latinLnBrk="0" hangingPunct="1">
              <a:lnSpc>
                <a:spcPct val="100000"/>
              </a:lnSpc>
              <a:spcBef>
                <a:spcPts val="0"/>
              </a:spcBef>
              <a:spcAft>
                <a:spcPts val="554"/>
              </a:spcAft>
              <a:buClr>
                <a:srgbClr val="B0B0B3"/>
              </a:buClr>
              <a:buSzPts val="1000"/>
              <a:buFont typeface="Symbol" panose="05050102010706020507" pitchFamily="18" charset="2"/>
              <a:buChar char=""/>
              <a:tabLst>
                <a:tab pos="457200" algn="l"/>
              </a:tabLst>
              <a:defRPr/>
            </a:pPr>
            <a:r>
              <a:rPr kumimoji="0" lang="en-US" sz="1800" b="0" i="0" u="none" strike="noStrike" kern="0" cap="none" spc="0" normalizeH="0" baseline="0" noProof="0" dirty="0">
                <a:ln>
                  <a:noFill/>
                </a:ln>
                <a:solidFill>
                  <a:srgbClr val="0D2B4E"/>
                </a:solidFill>
                <a:effectLst/>
                <a:uLnTx/>
                <a:uFillTx/>
              </a:rPr>
              <a:t>Improve investigation quality and improve ways to embed learnings</a:t>
            </a:r>
          </a:p>
          <a:p>
            <a:pPr marL="342900" marR="0" lvl="0" indent="-342900" defTabSz="914400" eaLnBrk="1" fontAlgn="auto" latinLnBrk="0" hangingPunct="1">
              <a:lnSpc>
                <a:spcPct val="100000"/>
              </a:lnSpc>
              <a:spcBef>
                <a:spcPts val="0"/>
              </a:spcBef>
              <a:spcAft>
                <a:spcPts val="554"/>
              </a:spcAft>
              <a:buClr>
                <a:srgbClr val="B0B0B3"/>
              </a:buClr>
              <a:buSzPts val="1000"/>
              <a:buFont typeface="Symbol" panose="05050102010706020507" pitchFamily="18" charset="2"/>
              <a:buChar char=""/>
              <a:tabLst>
                <a:tab pos="457200" algn="l"/>
              </a:tabLst>
              <a:defRPr/>
            </a:pPr>
            <a:r>
              <a:rPr kumimoji="0" lang="en-US" sz="1800" b="0" i="0" u="none" strike="noStrike" kern="0" cap="none" spc="0" normalizeH="0" baseline="0" noProof="0" dirty="0">
                <a:ln>
                  <a:noFill/>
                </a:ln>
                <a:solidFill>
                  <a:srgbClr val="0D2B4E"/>
                </a:solidFill>
                <a:effectLst/>
                <a:uLnTx/>
                <a:uFillTx/>
              </a:rPr>
              <a:t>IRF contact: ANP (Brazil)</a:t>
            </a:r>
          </a:p>
        </p:txBody>
      </p:sp>
      <p:sp>
        <p:nvSpPr>
          <p:cNvPr id="25" name="Rectangle 56">
            <a:extLst>
              <a:ext uri="{FF2B5EF4-FFF2-40B4-BE49-F238E27FC236}">
                <a16:creationId xmlns:a16="http://schemas.microsoft.com/office/drawing/2014/main" id="{D08C01C8-5B7F-4FC3-B582-0207E5A9E48E}"/>
              </a:ext>
            </a:extLst>
          </p:cNvPr>
          <p:cNvSpPr>
            <a:spLocks noChangeArrowheads="1"/>
          </p:cNvSpPr>
          <p:nvPr>
            <p:custDataLst>
              <p:tags r:id="rId3"/>
            </p:custDataLst>
          </p:nvPr>
        </p:nvSpPr>
        <p:spPr bwMode="gray">
          <a:xfrm>
            <a:off x="8023869" y="3277286"/>
            <a:ext cx="2635535" cy="1713737"/>
          </a:xfrm>
          <a:prstGeom prst="rect">
            <a:avLst/>
          </a:prstGeom>
          <a:noFill/>
          <a:ln w="12700">
            <a:noFill/>
            <a:round/>
            <a:headEnd/>
            <a:tailEnd/>
          </a:ln>
        </p:spPr>
        <p:txBody>
          <a:bodyPr lIns="33231" tIns="41356" rIns="33231" bIns="41356"/>
          <a:lstStyle/>
          <a:p>
            <a:pPr marL="342900" marR="0" lvl="0" indent="-342900" defTabSz="914400" eaLnBrk="1" fontAlgn="auto" latinLnBrk="0" hangingPunct="1">
              <a:lnSpc>
                <a:spcPct val="100000"/>
              </a:lnSpc>
              <a:spcBef>
                <a:spcPts val="0"/>
              </a:spcBef>
              <a:spcAft>
                <a:spcPts val="0"/>
              </a:spcAft>
              <a:buClrTx/>
              <a:buSzPts val="1000"/>
              <a:buFont typeface="Symbol" panose="05050102010706020507" pitchFamily="18" charset="2"/>
              <a:buChar char=""/>
              <a:tabLst>
                <a:tab pos="457200" algn="l"/>
              </a:tabLst>
              <a:defRPr/>
            </a:pPr>
            <a:r>
              <a:rPr kumimoji="0" lang="en-AU" sz="1800" b="0" i="0" u="none" strike="noStrike" kern="0" cap="none" spc="0" normalizeH="0" baseline="0" noProof="0" dirty="0">
                <a:ln>
                  <a:noFill/>
                </a:ln>
                <a:solidFill>
                  <a:srgbClr val="0D2B4E"/>
                </a:solidFill>
                <a:effectLst/>
                <a:uLnTx/>
                <a:uFillTx/>
                <a:ea typeface="Calibri" panose="020F0502020204030204" pitchFamily="34" charset="0"/>
              </a:rPr>
              <a:t>Reducing risks from automated systems with a human-centered design approach</a:t>
            </a:r>
          </a:p>
          <a:p>
            <a:pPr marL="342900" marR="0" lvl="0" indent="-342900" defTabSz="914400" eaLnBrk="1" fontAlgn="auto" latinLnBrk="0" hangingPunct="1">
              <a:lnSpc>
                <a:spcPct val="100000"/>
              </a:lnSpc>
              <a:spcBef>
                <a:spcPts val="0"/>
              </a:spcBef>
              <a:spcAft>
                <a:spcPts val="0"/>
              </a:spcAft>
              <a:buClrTx/>
              <a:buSzPts val="1000"/>
              <a:buFont typeface="Symbol" panose="05050102010706020507" pitchFamily="18" charset="2"/>
              <a:buChar char=""/>
              <a:tabLst>
                <a:tab pos="457200" algn="l"/>
              </a:tabLst>
              <a:defRPr/>
            </a:pPr>
            <a:r>
              <a:rPr kumimoji="0" lang="en-AU" sz="1800" b="0" i="0" u="none" strike="noStrike" kern="0" cap="none" spc="0" normalizeH="0" baseline="0" noProof="0" dirty="0">
                <a:ln>
                  <a:noFill/>
                </a:ln>
                <a:solidFill>
                  <a:srgbClr val="0D2B4E"/>
                </a:solidFill>
                <a:effectLst/>
                <a:uLnTx/>
                <a:uFillTx/>
              </a:rPr>
              <a:t>IRF contact: PSA (Norway)</a:t>
            </a:r>
            <a:endParaRPr kumimoji="0" lang="en-US" sz="1800" b="0" i="0" u="none" strike="noStrike" kern="0" cap="none" spc="0" normalizeH="0" baseline="0" noProof="0" dirty="0">
              <a:ln>
                <a:noFill/>
              </a:ln>
              <a:solidFill>
                <a:srgbClr val="0D2B4E"/>
              </a:solidFill>
              <a:effectLst/>
              <a:uLnTx/>
              <a:uFillTx/>
            </a:endParaRPr>
          </a:p>
        </p:txBody>
      </p:sp>
      <p:sp>
        <p:nvSpPr>
          <p:cNvPr id="26" name="Rectangle 125">
            <a:extLst>
              <a:ext uri="{FF2B5EF4-FFF2-40B4-BE49-F238E27FC236}">
                <a16:creationId xmlns:a16="http://schemas.microsoft.com/office/drawing/2014/main" id="{BE4CE686-FA7D-4FAD-A3F1-B099B17521F5}"/>
              </a:ext>
            </a:extLst>
          </p:cNvPr>
          <p:cNvSpPr>
            <a:spLocks noChangeArrowheads="1"/>
          </p:cNvSpPr>
          <p:nvPr/>
        </p:nvSpPr>
        <p:spPr bwMode="auto">
          <a:xfrm>
            <a:off x="1524964" y="2422871"/>
            <a:ext cx="2936282" cy="847449"/>
          </a:xfrm>
          <a:prstGeom prst="rect">
            <a:avLst/>
          </a:prstGeom>
          <a:solidFill>
            <a:srgbClr val="0D2B4E">
              <a:lumMod val="90000"/>
              <a:lumOff val="10000"/>
            </a:srgbClr>
          </a:solidFill>
          <a:ln w="28575">
            <a:solidFill>
              <a:srgbClr val="3767A0"/>
            </a:solidFill>
            <a:round/>
            <a:headEnd/>
            <a:tailEnd/>
          </a:ln>
        </p:spPr>
        <p:txBody>
          <a:bodyPr tIns="144000" bIns="108000" anchor="ctr"/>
          <a:lstStyle/>
          <a:p>
            <a:pPr marL="0" marR="0" lvl="0" indent="0" algn="ctr" defTabSz="826498"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rPr>
              <a:t>Prevention of well control incidents</a:t>
            </a:r>
          </a:p>
        </p:txBody>
      </p:sp>
      <p:sp>
        <p:nvSpPr>
          <p:cNvPr id="27" name="Rectangle 125">
            <a:extLst>
              <a:ext uri="{FF2B5EF4-FFF2-40B4-BE49-F238E27FC236}">
                <a16:creationId xmlns:a16="http://schemas.microsoft.com/office/drawing/2014/main" id="{5FB4480F-B38F-4F90-8DCA-A1EA6694B030}"/>
              </a:ext>
            </a:extLst>
          </p:cNvPr>
          <p:cNvSpPr>
            <a:spLocks noChangeArrowheads="1"/>
          </p:cNvSpPr>
          <p:nvPr/>
        </p:nvSpPr>
        <p:spPr bwMode="auto">
          <a:xfrm>
            <a:off x="4667042" y="2454407"/>
            <a:ext cx="3036073" cy="847449"/>
          </a:xfrm>
          <a:prstGeom prst="rect">
            <a:avLst/>
          </a:prstGeom>
          <a:solidFill>
            <a:srgbClr val="0D2B4E">
              <a:lumMod val="90000"/>
              <a:lumOff val="10000"/>
            </a:srgbClr>
          </a:solidFill>
          <a:ln w="28575">
            <a:solidFill>
              <a:srgbClr val="3767A0"/>
            </a:solidFill>
            <a:round/>
            <a:headEnd/>
            <a:tailEnd/>
          </a:ln>
        </p:spPr>
        <p:txBody>
          <a:bodyPr tIns="144000" bIns="108000" anchor="ctr"/>
          <a:lstStyle/>
          <a:p>
            <a:pPr marL="0" marR="0" lvl="0" indent="0" algn="ctr" defTabSz="826498"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FFFF"/>
                </a:solidFill>
                <a:effectLst/>
                <a:uLnTx/>
                <a:uFillTx/>
              </a:rPr>
              <a:t>Investigation quality / sharing &amp; application of learnings </a:t>
            </a:r>
          </a:p>
        </p:txBody>
      </p:sp>
      <p:sp>
        <p:nvSpPr>
          <p:cNvPr id="28" name="Rectangle 125">
            <a:extLst>
              <a:ext uri="{FF2B5EF4-FFF2-40B4-BE49-F238E27FC236}">
                <a16:creationId xmlns:a16="http://schemas.microsoft.com/office/drawing/2014/main" id="{A9011DAE-2A0C-4987-98B3-6FCC60DE60E0}"/>
              </a:ext>
            </a:extLst>
          </p:cNvPr>
          <p:cNvSpPr>
            <a:spLocks noChangeArrowheads="1"/>
          </p:cNvSpPr>
          <p:nvPr/>
        </p:nvSpPr>
        <p:spPr bwMode="auto">
          <a:xfrm>
            <a:off x="7861891" y="2422871"/>
            <a:ext cx="2936282" cy="847449"/>
          </a:xfrm>
          <a:prstGeom prst="rect">
            <a:avLst/>
          </a:prstGeom>
          <a:solidFill>
            <a:srgbClr val="0D2B4E">
              <a:lumMod val="90000"/>
              <a:lumOff val="10000"/>
            </a:srgbClr>
          </a:solidFill>
          <a:ln w="28575">
            <a:solidFill>
              <a:srgbClr val="3767A0"/>
            </a:solidFill>
            <a:round/>
            <a:headEnd/>
            <a:tailEnd/>
          </a:ln>
        </p:spPr>
        <p:txBody>
          <a:bodyPr tIns="144000" bIns="108000" anchor="ctr"/>
          <a:lstStyle/>
          <a:p>
            <a:pPr marL="0" marR="0" lvl="0" indent="0" algn="ctr" defTabSz="826498"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rgbClr val="FFFFFF"/>
                </a:solidFill>
                <a:effectLst/>
                <a:uLnTx/>
                <a:uFillTx/>
              </a:rPr>
              <a:t>Digitalisation </a:t>
            </a:r>
            <a:endParaRPr kumimoji="0" lang="en-US" sz="2000" b="1" i="0" u="none" strike="noStrike" kern="0" cap="none" spc="0" normalizeH="0" baseline="0" noProof="0" dirty="0">
              <a:ln>
                <a:noFill/>
              </a:ln>
              <a:solidFill>
                <a:srgbClr val="FFFFFF"/>
              </a:solidFill>
              <a:effectLst/>
              <a:uLnTx/>
              <a:uFillTx/>
            </a:endParaRPr>
          </a:p>
        </p:txBody>
      </p:sp>
      <p:pic>
        <p:nvPicPr>
          <p:cNvPr id="29" name="Picture 28">
            <a:extLst>
              <a:ext uri="{FF2B5EF4-FFF2-40B4-BE49-F238E27FC236}">
                <a16:creationId xmlns:a16="http://schemas.microsoft.com/office/drawing/2014/main" id="{81D691FC-496B-4244-8870-BD98C05FF840}"/>
              </a:ext>
            </a:extLst>
          </p:cNvPr>
          <p:cNvPicPr>
            <a:picLocks noChangeAspect="1"/>
          </p:cNvPicPr>
          <p:nvPr/>
        </p:nvPicPr>
        <p:blipFill>
          <a:blip r:embed="rId6"/>
          <a:stretch>
            <a:fillRect/>
          </a:stretch>
        </p:blipFill>
        <p:spPr>
          <a:xfrm>
            <a:off x="1169779" y="5751441"/>
            <a:ext cx="9833191" cy="607195"/>
          </a:xfrm>
          <a:prstGeom prst="rect">
            <a:avLst/>
          </a:prstGeom>
        </p:spPr>
      </p:pic>
    </p:spTree>
    <p:extLst>
      <p:ext uri="{BB962C8B-B14F-4D97-AF65-F5344CB8AC3E}">
        <p14:creationId xmlns:p14="http://schemas.microsoft.com/office/powerpoint/2010/main" val="2452284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4"/>
                                        </p:tgtEl>
                                        <p:attrNameLst>
                                          <p:attrName>style.visibility</p:attrName>
                                        </p:attrNameLst>
                                      </p:cBhvr>
                                      <p:to>
                                        <p:strVal val="visible"/>
                                      </p:to>
                                    </p:set>
                                    <p:animEffect transition="in" filter="fade">
                                      <p:cBhvr>
                                        <p:cTn id="18" dur="500"/>
                                        <p:tgtEl>
                                          <p:spTgt spid="2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animEffect transition="in" filter="fade">
                                      <p:cBhvr>
                                        <p:cTn id="23" dur="500"/>
                                        <p:tgtEl>
                                          <p:spTgt spid="2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5" grpId="0"/>
      <p:bldP spid="26" grpId="0" animBg="1"/>
      <p:bldP spid="27" grpId="0" animBg="1"/>
      <p:bldP spid="2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0733200-4FEF-4500-8385-8CE025BD2831}"/>
              </a:ext>
            </a:extLst>
          </p:cNvPr>
          <p:cNvSpPr>
            <a:spLocks noGrp="1"/>
          </p:cNvSpPr>
          <p:nvPr>
            <p:ph type="title"/>
          </p:nvPr>
        </p:nvSpPr>
        <p:spPr>
          <a:xfrm>
            <a:off x="838200" y="13076"/>
            <a:ext cx="10515600" cy="1325563"/>
          </a:xfrm>
        </p:spPr>
        <p:txBody>
          <a:bodyPr/>
          <a:lstStyle/>
          <a:p>
            <a:r>
              <a:rPr lang="nb-NO" sz="1800" b="0" i="0" u="none" strike="noStrike" baseline="0">
                <a:solidFill>
                  <a:srgbClr val="000000"/>
                </a:solidFill>
                <a:latin typeface="Calibri" panose="020F0502020204030204" pitchFamily="34" charset="0"/>
              </a:rPr>
              <a:t/>
            </a:r>
            <a:br>
              <a:rPr lang="nb-NO" sz="1800" b="0" i="0" u="none" strike="noStrike" baseline="0">
                <a:solidFill>
                  <a:srgbClr val="000000"/>
                </a:solidFill>
                <a:latin typeface="Calibri" panose="020F0502020204030204" pitchFamily="34" charset="0"/>
              </a:rPr>
            </a:br>
            <a:r>
              <a:rPr lang="nb-NO" sz="2800" b="1" i="0" u="none" strike="noStrike" baseline="0" err="1">
                <a:solidFill>
                  <a:schemeClr val="accent1">
                    <a:lumMod val="75000"/>
                  </a:schemeClr>
                </a:solidFill>
                <a:latin typeface="Calibri" panose="020F0502020204030204" pitchFamily="34" charset="0"/>
              </a:rPr>
              <a:t>Background</a:t>
            </a:r>
            <a:r>
              <a:rPr lang="nb-NO" sz="2800" b="1" i="0" u="none" strike="noStrike" baseline="0">
                <a:solidFill>
                  <a:schemeClr val="accent1">
                    <a:lumMod val="75000"/>
                  </a:schemeClr>
                </a:solidFill>
                <a:latin typeface="Calibri" panose="020F0502020204030204" pitchFamily="34" charset="0"/>
              </a:rPr>
              <a:t> </a:t>
            </a:r>
            <a:endParaRPr lang="nb-NO" sz="2800">
              <a:solidFill>
                <a:schemeClr val="accent1">
                  <a:lumMod val="75000"/>
                </a:schemeClr>
              </a:solidFill>
            </a:endParaRPr>
          </a:p>
        </p:txBody>
      </p:sp>
      <p:sp>
        <p:nvSpPr>
          <p:cNvPr id="3" name="Plassholder for innhold 2">
            <a:extLst>
              <a:ext uri="{FF2B5EF4-FFF2-40B4-BE49-F238E27FC236}">
                <a16:creationId xmlns:a16="http://schemas.microsoft.com/office/drawing/2014/main" id="{17214F0D-E0CE-4E63-B2EC-B42BBB695BFF}"/>
              </a:ext>
            </a:extLst>
          </p:cNvPr>
          <p:cNvSpPr>
            <a:spLocks noGrp="1"/>
          </p:cNvSpPr>
          <p:nvPr>
            <p:ph idx="1"/>
          </p:nvPr>
        </p:nvSpPr>
        <p:spPr>
          <a:xfrm>
            <a:off x="628701" y="1726791"/>
            <a:ext cx="6083468" cy="4013701"/>
          </a:xfrm>
        </p:spPr>
        <p:txBody>
          <a:bodyPr vert="horz" lIns="91440" tIns="45720" rIns="91440" bIns="45720" rtlCol="0" anchor="t">
            <a:normAutofit/>
          </a:bodyPr>
          <a:lstStyle/>
          <a:p>
            <a:pPr marL="0" indent="0" fontAlgn="base">
              <a:buNone/>
            </a:pPr>
            <a:r>
              <a:rPr lang="en-GB" sz="1500">
                <a:latin typeface="Segoe UI"/>
                <a:cs typeface="Segoe UI"/>
              </a:rPr>
              <a:t>The petroleum industry is becoming increasingly dependent on automated systems, and the companies have ambitious plans for increased use of digital technology.  </a:t>
            </a:r>
            <a:r>
              <a:rPr lang="en-US" sz="1500">
                <a:latin typeface="Segoe UI"/>
                <a:cs typeface="Segoe UI"/>
              </a:rPr>
              <a:t>Complex integration of systems increases risk and ramifications for malfunctions that may cause </a:t>
            </a:r>
            <a:r>
              <a:rPr lang="en-US" sz="1500" b="0" i="0" u="none" strike="noStrike">
                <a:effectLst/>
                <a:latin typeface="Segoe UI"/>
                <a:cs typeface="Segoe UI"/>
              </a:rPr>
              <a:t>serious incidents. </a:t>
            </a:r>
            <a:r>
              <a:rPr lang="en-US" sz="1500">
                <a:latin typeface="Segoe UI"/>
                <a:cs typeface="Segoe UI"/>
              </a:rPr>
              <a:t>Unforeseen circumstances causing systems to deviate can be malfunction of systems, interfaces between system components, deliberate cyber-attacks or plant upset as a result of cyber-collateral damage.</a:t>
            </a:r>
          </a:p>
          <a:p>
            <a:pPr marL="0" indent="0" fontAlgn="base">
              <a:buNone/>
            </a:pPr>
            <a:endParaRPr lang="nb-NO" sz="1500">
              <a:latin typeface="Segoe UI" panose="020B0502040204020203" pitchFamily="34" charset="0"/>
            </a:endParaRPr>
          </a:p>
          <a:p>
            <a:pPr marL="0" marR="82550" indent="0" fontAlgn="base">
              <a:buNone/>
            </a:pPr>
            <a:r>
              <a:rPr lang="en-US" sz="1500">
                <a:latin typeface="Segoe UI"/>
                <a:cs typeface="Segoe UI"/>
              </a:rPr>
              <a:t>IRF first communicated this problem to IOGP &amp; IADC in the form of an “IRF Problem Statement”. The problem was refined and is currently being actioned by IOGP-led task force. </a:t>
            </a:r>
            <a:endParaRPr lang="en-US" sz="1500">
              <a:latin typeface="Segoe UI" panose="020B0502040204020203" pitchFamily="34" charset="0"/>
            </a:endParaRPr>
          </a:p>
          <a:p>
            <a:pPr marL="0" marR="82550" indent="0" fontAlgn="base">
              <a:buNone/>
            </a:pPr>
            <a:endParaRPr lang="en-US" sz="1500">
              <a:latin typeface="Segoe UI" panose="020B0502040204020203" pitchFamily="34" charset="0"/>
              <a:cs typeface="Segoe UI" panose="020B0502040204020203" pitchFamily="34" charset="0"/>
            </a:endParaRPr>
          </a:p>
          <a:p>
            <a:pPr marL="0" marR="82550" indent="0" fontAlgn="base">
              <a:buNone/>
            </a:pPr>
            <a:r>
              <a:rPr lang="en-US" sz="1500">
                <a:latin typeface="Segoe UI"/>
                <a:cs typeface="Segoe UI"/>
              </a:rPr>
              <a:t>The purpose of this briefing pack is to share the problem statement and how it is being actioned with IRF members. </a:t>
            </a:r>
            <a:endParaRPr lang="en-US" sz="1500">
              <a:latin typeface="Segoe UI" panose="020B0502040204020203" pitchFamily="34" charset="0"/>
              <a:cs typeface="Segoe UI" panose="020B0502040204020203" pitchFamily="34" charset="0"/>
            </a:endParaRPr>
          </a:p>
          <a:p>
            <a:endParaRPr lang="nb-NO"/>
          </a:p>
        </p:txBody>
      </p:sp>
      <p:pic>
        <p:nvPicPr>
          <p:cNvPr id="4" name="Bilde 3">
            <a:extLst>
              <a:ext uri="{FF2B5EF4-FFF2-40B4-BE49-F238E27FC236}">
                <a16:creationId xmlns:a16="http://schemas.microsoft.com/office/drawing/2014/main" id="{4B00270C-9C87-49B0-BEC5-3EA007E37EB8}"/>
              </a:ext>
            </a:extLst>
          </p:cNvPr>
          <p:cNvPicPr>
            <a:picLocks noChangeAspect="1"/>
          </p:cNvPicPr>
          <p:nvPr/>
        </p:nvPicPr>
        <p:blipFill>
          <a:blip r:embed="rId2"/>
          <a:stretch>
            <a:fillRect/>
          </a:stretch>
        </p:blipFill>
        <p:spPr>
          <a:xfrm>
            <a:off x="7740316" y="138781"/>
            <a:ext cx="4267202" cy="1008230"/>
          </a:xfrm>
          <a:prstGeom prst="rect">
            <a:avLst/>
          </a:prstGeom>
        </p:spPr>
      </p:pic>
      <p:pic>
        <p:nvPicPr>
          <p:cNvPr id="8" name="Bilde 7">
            <a:extLst>
              <a:ext uri="{FF2B5EF4-FFF2-40B4-BE49-F238E27FC236}">
                <a16:creationId xmlns:a16="http://schemas.microsoft.com/office/drawing/2014/main" id="{90BE6986-8BF2-4C43-AE81-A886B9A4FE3E}"/>
              </a:ext>
            </a:extLst>
          </p:cNvPr>
          <p:cNvPicPr>
            <a:picLocks noChangeAspect="1"/>
          </p:cNvPicPr>
          <p:nvPr/>
        </p:nvPicPr>
        <p:blipFill>
          <a:blip r:embed="rId3"/>
          <a:stretch>
            <a:fillRect/>
          </a:stretch>
        </p:blipFill>
        <p:spPr>
          <a:xfrm>
            <a:off x="3438524" y="5548864"/>
            <a:ext cx="5314952" cy="1170355"/>
          </a:xfrm>
          <a:prstGeom prst="rect">
            <a:avLst/>
          </a:prstGeom>
        </p:spPr>
      </p:pic>
      <p:pic>
        <p:nvPicPr>
          <p:cNvPr id="1026" name="Picture 2" descr="Digital Transformation: The Next Frontier in Oil &amp; Gas - OGV Energy">
            <a:extLst>
              <a:ext uri="{FF2B5EF4-FFF2-40B4-BE49-F238E27FC236}">
                <a16:creationId xmlns:a16="http://schemas.microsoft.com/office/drawing/2014/main" id="{111662E6-F9FA-4585-B536-FDF5F547B84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94180" y="1694339"/>
            <a:ext cx="4627786" cy="34663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35259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C182421-E6F8-493F-A608-335805645FEF}"/>
              </a:ext>
            </a:extLst>
          </p:cNvPr>
          <p:cNvSpPr>
            <a:spLocks noGrp="1"/>
          </p:cNvSpPr>
          <p:nvPr>
            <p:ph type="title"/>
          </p:nvPr>
        </p:nvSpPr>
        <p:spPr/>
        <p:txBody>
          <a:bodyPr/>
          <a:lstStyle/>
          <a:p>
            <a:r>
              <a:rPr lang="nb-NO" sz="1800" b="0" i="0" u="none" strike="noStrike" baseline="0">
                <a:solidFill>
                  <a:srgbClr val="000000"/>
                </a:solidFill>
                <a:latin typeface="Calibri" panose="020F0502020204030204" pitchFamily="34" charset="0"/>
              </a:rPr>
              <a:t/>
            </a:r>
            <a:br>
              <a:rPr lang="nb-NO" sz="1800" b="0" i="0" u="none" strike="noStrike" baseline="0">
                <a:solidFill>
                  <a:srgbClr val="000000"/>
                </a:solidFill>
                <a:latin typeface="Calibri" panose="020F0502020204030204" pitchFamily="34" charset="0"/>
              </a:rPr>
            </a:br>
            <a:r>
              <a:rPr lang="nb-NO" sz="2800" b="1" i="0" u="none" strike="noStrike" baseline="0" err="1">
                <a:solidFill>
                  <a:schemeClr val="accent1">
                    <a:lumMod val="75000"/>
                  </a:schemeClr>
                </a:solidFill>
                <a:latin typeface="Calibri" panose="020F0502020204030204" pitchFamily="34" charset="0"/>
              </a:rPr>
              <a:t>Examples</a:t>
            </a:r>
            <a:r>
              <a:rPr lang="nb-NO" sz="2800" b="1" i="0" u="none" strike="noStrike" baseline="0">
                <a:solidFill>
                  <a:schemeClr val="accent1">
                    <a:lumMod val="75000"/>
                  </a:schemeClr>
                </a:solidFill>
                <a:latin typeface="Calibri" panose="020F0502020204030204" pitchFamily="34" charset="0"/>
              </a:rPr>
              <a:t> </a:t>
            </a:r>
            <a:r>
              <a:rPr lang="nb-NO" sz="2800" b="1" i="0" u="none" strike="noStrike" baseline="0" err="1">
                <a:solidFill>
                  <a:schemeClr val="accent1">
                    <a:lumMod val="75000"/>
                  </a:schemeClr>
                </a:solidFill>
                <a:latin typeface="Calibri" panose="020F0502020204030204" pitchFamily="34" charset="0"/>
              </a:rPr>
              <a:t>of</a:t>
            </a:r>
            <a:r>
              <a:rPr lang="nb-NO" sz="2800" b="1" i="0" u="none" strike="noStrike" baseline="0">
                <a:solidFill>
                  <a:schemeClr val="accent1">
                    <a:lumMod val="75000"/>
                  </a:schemeClr>
                </a:solidFill>
                <a:latin typeface="Calibri" panose="020F0502020204030204" pitchFamily="34" charset="0"/>
              </a:rPr>
              <a:t> </a:t>
            </a:r>
            <a:r>
              <a:rPr lang="nb-NO" sz="2800" b="1" i="0" u="none" strike="noStrike" baseline="0" err="1">
                <a:solidFill>
                  <a:schemeClr val="accent1">
                    <a:lumMod val="75000"/>
                  </a:schemeClr>
                </a:solidFill>
                <a:latin typeface="Calibri" panose="020F0502020204030204" pitchFamily="34" charset="0"/>
              </a:rPr>
              <a:t>the</a:t>
            </a:r>
            <a:r>
              <a:rPr lang="nb-NO" sz="2800" b="1">
                <a:solidFill>
                  <a:schemeClr val="accent1">
                    <a:lumMod val="75000"/>
                  </a:schemeClr>
                </a:solidFill>
                <a:latin typeface="Calibri" panose="020F0502020204030204" pitchFamily="34" charset="0"/>
              </a:rPr>
              <a:t> </a:t>
            </a:r>
            <a:r>
              <a:rPr lang="nb-NO" sz="2800" b="1" err="1">
                <a:solidFill>
                  <a:schemeClr val="accent1">
                    <a:lumMod val="75000"/>
                  </a:schemeClr>
                </a:solidFill>
                <a:latin typeface="Calibri" panose="020F0502020204030204" pitchFamily="34" charset="0"/>
              </a:rPr>
              <a:t>technologies</a:t>
            </a:r>
            <a:r>
              <a:rPr lang="nb-NO" sz="2800" b="1">
                <a:solidFill>
                  <a:schemeClr val="accent1">
                    <a:lumMod val="75000"/>
                  </a:schemeClr>
                </a:solidFill>
                <a:latin typeface="Calibri" panose="020F0502020204030204" pitchFamily="34" charset="0"/>
              </a:rPr>
              <a:t> and problems</a:t>
            </a:r>
            <a:endParaRPr lang="nb-NO" sz="2800">
              <a:solidFill>
                <a:schemeClr val="accent1">
                  <a:lumMod val="75000"/>
                </a:schemeClr>
              </a:solidFill>
            </a:endParaRPr>
          </a:p>
        </p:txBody>
      </p:sp>
      <p:sp>
        <p:nvSpPr>
          <p:cNvPr id="3" name="Plassholder for innhold 2">
            <a:extLst>
              <a:ext uri="{FF2B5EF4-FFF2-40B4-BE49-F238E27FC236}">
                <a16:creationId xmlns:a16="http://schemas.microsoft.com/office/drawing/2014/main" id="{287AA915-FB1F-4F6A-9575-116E1ECEA260}"/>
              </a:ext>
            </a:extLst>
          </p:cNvPr>
          <p:cNvSpPr>
            <a:spLocks noGrp="1"/>
          </p:cNvSpPr>
          <p:nvPr>
            <p:ph idx="1"/>
          </p:nvPr>
        </p:nvSpPr>
        <p:spPr>
          <a:xfrm>
            <a:off x="838199" y="1825625"/>
            <a:ext cx="10515599" cy="4351338"/>
          </a:xfrm>
        </p:spPr>
        <p:txBody>
          <a:bodyPr vert="horz" lIns="91440" tIns="45720" rIns="91440" bIns="45720" rtlCol="0" anchor="t">
            <a:normAutofit/>
          </a:bodyPr>
          <a:lstStyle/>
          <a:p>
            <a:pPr marL="0" indent="0" fontAlgn="base">
              <a:buNone/>
            </a:pPr>
            <a:r>
              <a:rPr lang="en-US" sz="1500" dirty="0">
                <a:latin typeface="Segoe UI"/>
                <a:cs typeface="Segoe UI"/>
              </a:rPr>
              <a:t>Experiences and lessons learned from industries emphasize the criticality of the interface between human-automated systems for ensuring safe operations. Some examples on critical factors are:</a:t>
            </a:r>
          </a:p>
          <a:p>
            <a:pPr marL="171450" indent="-171450"/>
            <a:r>
              <a:rPr lang="en-US" sz="1500" dirty="0">
                <a:latin typeface="Segoe UI"/>
                <a:cs typeface="Segoe UI"/>
              </a:rPr>
              <a:t>Situational awareness and meaningful control amongst those involved at the sharp end</a:t>
            </a:r>
          </a:p>
          <a:p>
            <a:pPr marL="171450" indent="-171450"/>
            <a:r>
              <a:rPr lang="en-US" sz="1500" dirty="0">
                <a:latin typeface="Segoe UI"/>
                <a:cs typeface="Segoe UI"/>
              </a:rPr>
              <a:t>Design that supports human natural abilities when developing and implementing automated systems</a:t>
            </a:r>
          </a:p>
          <a:p>
            <a:pPr marL="171450" indent="-171450"/>
            <a:r>
              <a:rPr lang="en-US" sz="1500" dirty="0">
                <a:latin typeface="Segoe UI"/>
                <a:cs typeface="Segoe UI"/>
              </a:rPr>
              <a:t>Targeted training and practice</a:t>
            </a:r>
            <a:endParaRPr lang="en-US" dirty="0"/>
          </a:p>
          <a:p>
            <a:pPr marL="171450" indent="-171450">
              <a:buFont typeface="Arial" panose="020B0604020202020204" pitchFamily="34" charset="0"/>
              <a:buChar char="•"/>
            </a:pPr>
            <a:r>
              <a:rPr lang="en-US" sz="1500" dirty="0">
                <a:latin typeface="Segoe UI"/>
                <a:cs typeface="Segoe UI"/>
              </a:rPr>
              <a:t>Reporting of automation errors as driver for (un)justified level of trust</a:t>
            </a:r>
          </a:p>
          <a:p>
            <a:pPr marL="0" indent="0">
              <a:buNone/>
            </a:pPr>
            <a:endParaRPr lang="nb-NO" sz="1500">
              <a:highlight>
                <a:srgbClr val="FFFF00"/>
              </a:highlight>
              <a:latin typeface="Segoe UI"/>
              <a:cs typeface="Segoe UI"/>
            </a:endParaRPr>
          </a:p>
          <a:p>
            <a:pPr marL="0" indent="0" fontAlgn="base">
              <a:buNone/>
            </a:pPr>
            <a:endParaRPr lang="en-US" sz="1500">
              <a:latin typeface="Segoe UI"/>
              <a:cs typeface="Segoe UI"/>
            </a:endParaRPr>
          </a:p>
        </p:txBody>
      </p:sp>
      <p:pic>
        <p:nvPicPr>
          <p:cNvPr id="6" name="Bilde 5">
            <a:extLst>
              <a:ext uri="{FF2B5EF4-FFF2-40B4-BE49-F238E27FC236}">
                <a16:creationId xmlns:a16="http://schemas.microsoft.com/office/drawing/2014/main" id="{05D5AF5A-4766-48B4-BC1C-8E384BD74D02}"/>
              </a:ext>
            </a:extLst>
          </p:cNvPr>
          <p:cNvPicPr>
            <a:picLocks noChangeAspect="1"/>
          </p:cNvPicPr>
          <p:nvPr/>
        </p:nvPicPr>
        <p:blipFill>
          <a:blip r:embed="rId3"/>
          <a:stretch>
            <a:fillRect/>
          </a:stretch>
        </p:blipFill>
        <p:spPr>
          <a:xfrm>
            <a:off x="7740316" y="138781"/>
            <a:ext cx="4267202" cy="1008230"/>
          </a:xfrm>
          <a:prstGeom prst="rect">
            <a:avLst/>
          </a:prstGeom>
        </p:spPr>
      </p:pic>
      <p:sp>
        <p:nvSpPr>
          <p:cNvPr id="4" name="TextBox 3">
            <a:extLst>
              <a:ext uri="{FF2B5EF4-FFF2-40B4-BE49-F238E27FC236}">
                <a16:creationId xmlns:a16="http://schemas.microsoft.com/office/drawing/2014/main" id="{F00B7273-5FF6-497E-8145-2E352C1BFC28}"/>
              </a:ext>
            </a:extLst>
          </p:cNvPr>
          <p:cNvSpPr txBox="1"/>
          <p:nvPr/>
        </p:nvSpPr>
        <p:spPr>
          <a:xfrm rot="21442618">
            <a:off x="3962823" y="5218952"/>
            <a:ext cx="8074450" cy="923330"/>
          </a:xfrm>
          <a:prstGeom prst="rect">
            <a:avLst/>
          </a:prstGeom>
          <a:noFill/>
          <a:ln>
            <a:solidFill>
              <a:schemeClr val="tx1"/>
            </a:solidFill>
          </a:ln>
        </p:spPr>
        <p:txBody>
          <a:bodyPr wrap="square" rtlCol="0">
            <a:spAutoFit/>
          </a:bodyPr>
          <a:lstStyle/>
          <a:p>
            <a:pPr algn="l"/>
            <a:r>
              <a:rPr lang="en-US" sz="1800" b="0" i="1" u="none" strike="noStrike" baseline="0">
                <a:solidFill>
                  <a:srgbClr val="000000"/>
                </a:solidFill>
                <a:latin typeface="Calibri" panose="020F0502020204030204" pitchFamily="34" charset="0"/>
              </a:rPr>
              <a:t>The same measures that make a system safe and predictable may introduce restrictions on cognition, which over time, inhibit or erode the disturbance handling capability of the actors involved (AF-447, Oliver et.al 2017)</a:t>
            </a:r>
            <a:endParaRPr lang="nb-NO" sz="1800" b="0" i="1" u="none" strike="noStrike" baseline="0">
              <a:latin typeface="Calibri" panose="020F0502020204030204" pitchFamily="34" charset="0"/>
            </a:endParaRPr>
          </a:p>
        </p:txBody>
      </p:sp>
      <p:sp>
        <p:nvSpPr>
          <p:cNvPr id="7" name="TextBox 6">
            <a:extLst>
              <a:ext uri="{FF2B5EF4-FFF2-40B4-BE49-F238E27FC236}">
                <a16:creationId xmlns:a16="http://schemas.microsoft.com/office/drawing/2014/main" id="{309EADDB-ADBC-49B4-9DFD-39DBD56C5A69}"/>
              </a:ext>
            </a:extLst>
          </p:cNvPr>
          <p:cNvSpPr txBox="1"/>
          <p:nvPr/>
        </p:nvSpPr>
        <p:spPr>
          <a:xfrm rot="21312264">
            <a:off x="867222" y="4296208"/>
            <a:ext cx="5468983" cy="923330"/>
          </a:xfrm>
          <a:prstGeom prst="rect">
            <a:avLst/>
          </a:prstGeom>
          <a:noFill/>
          <a:ln>
            <a:solidFill>
              <a:schemeClr val="tx1"/>
            </a:solidFill>
          </a:ln>
        </p:spPr>
        <p:txBody>
          <a:bodyPr wrap="square" rtlCol="0">
            <a:spAutoFit/>
          </a:bodyPr>
          <a:lstStyle/>
          <a:p>
            <a:pPr algn="l"/>
            <a:r>
              <a:rPr lang="en-US" sz="1800" b="0" i="1" u="none" strike="noStrike" baseline="0">
                <a:solidFill>
                  <a:srgbClr val="000000"/>
                </a:solidFill>
                <a:latin typeface="Calibri" panose="020F0502020204030204" pitchFamily="34" charset="0"/>
              </a:rPr>
              <a:t>“We saw in these two accidents that the crews did not react in the ways Boeing and the FAA assumed they would,” (NTSB 737 MAX)</a:t>
            </a:r>
            <a:endParaRPr lang="nb-NO" sz="1800" b="0" i="1" u="none" strike="noStrike" baseline="0">
              <a:solidFill>
                <a:srgbClr val="000000"/>
              </a:solidFill>
              <a:latin typeface="Calibri" panose="020F0502020204030204" pitchFamily="34" charset="0"/>
            </a:endParaRPr>
          </a:p>
        </p:txBody>
      </p:sp>
      <p:sp>
        <p:nvSpPr>
          <p:cNvPr id="8" name="TekstSylinder 7">
            <a:extLst>
              <a:ext uri="{FF2B5EF4-FFF2-40B4-BE49-F238E27FC236}">
                <a16:creationId xmlns:a16="http://schemas.microsoft.com/office/drawing/2014/main" id="{BD069E6D-FF6F-4EAB-B98D-9F516868D39B}"/>
              </a:ext>
            </a:extLst>
          </p:cNvPr>
          <p:cNvSpPr txBox="1"/>
          <p:nvPr/>
        </p:nvSpPr>
        <p:spPr>
          <a:xfrm>
            <a:off x="8000048" y="6492875"/>
            <a:ext cx="3955763" cy="276999"/>
          </a:xfrm>
          <a:prstGeom prst="rect">
            <a:avLst/>
          </a:prstGeom>
          <a:noFill/>
        </p:spPr>
        <p:txBody>
          <a:bodyPr wrap="none" rtlCol="0">
            <a:spAutoFit/>
          </a:bodyPr>
          <a:lstStyle/>
          <a:p>
            <a:r>
              <a:rPr lang="nb-NO" sz="1200"/>
              <a:t>* </a:t>
            </a:r>
            <a:r>
              <a:rPr lang="nb-NO" sz="1200" err="1"/>
              <a:t>Endsley</a:t>
            </a:r>
            <a:r>
              <a:rPr lang="nb-NO" sz="1200"/>
              <a:t>, 2017, SINTEF, 2020;  NTSB Price, 2019; DSA, 2019  </a:t>
            </a:r>
          </a:p>
        </p:txBody>
      </p:sp>
    </p:spTree>
    <p:extLst>
      <p:ext uri="{BB962C8B-B14F-4D97-AF65-F5344CB8AC3E}">
        <p14:creationId xmlns:p14="http://schemas.microsoft.com/office/powerpoint/2010/main" val="7870638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D74EBE9-62FD-47B3-8B48-03C38CC3F76D}"/>
              </a:ext>
            </a:extLst>
          </p:cNvPr>
          <p:cNvSpPr>
            <a:spLocks noGrp="1"/>
          </p:cNvSpPr>
          <p:nvPr>
            <p:ph type="title"/>
          </p:nvPr>
        </p:nvSpPr>
        <p:spPr>
          <a:xfrm>
            <a:off x="838200" y="365125"/>
            <a:ext cx="4936958" cy="1325563"/>
          </a:xfrm>
        </p:spPr>
        <p:txBody>
          <a:bodyPr/>
          <a:lstStyle/>
          <a:p>
            <a:r>
              <a:rPr lang="nb-NO" sz="1800" b="0" i="0" u="none" strike="noStrike" baseline="0">
                <a:solidFill>
                  <a:srgbClr val="000000"/>
                </a:solidFill>
                <a:latin typeface="Calibri" panose="020F0502020204030204" pitchFamily="34" charset="0"/>
              </a:rPr>
              <a:t/>
            </a:r>
            <a:br>
              <a:rPr lang="nb-NO" sz="1800" b="0" i="0" u="none" strike="noStrike" baseline="0">
                <a:solidFill>
                  <a:srgbClr val="000000"/>
                </a:solidFill>
                <a:latin typeface="Calibri" panose="020F0502020204030204" pitchFamily="34" charset="0"/>
              </a:rPr>
            </a:br>
            <a:r>
              <a:rPr lang="nb-NO" sz="2800" b="1" i="0" u="none" strike="noStrike" baseline="0">
                <a:solidFill>
                  <a:schemeClr val="accent1">
                    <a:lumMod val="75000"/>
                  </a:schemeClr>
                </a:solidFill>
                <a:latin typeface="Calibri" panose="020F0502020204030204" pitchFamily="34" charset="0"/>
              </a:rPr>
              <a:t>Evolution</a:t>
            </a:r>
            <a:endParaRPr lang="nb-NO" sz="2800">
              <a:solidFill>
                <a:schemeClr val="accent1">
                  <a:lumMod val="75000"/>
                </a:schemeClr>
              </a:solidFill>
            </a:endParaRPr>
          </a:p>
        </p:txBody>
      </p:sp>
      <p:pic>
        <p:nvPicPr>
          <p:cNvPr id="4" name="Bilde 3">
            <a:extLst>
              <a:ext uri="{FF2B5EF4-FFF2-40B4-BE49-F238E27FC236}">
                <a16:creationId xmlns:a16="http://schemas.microsoft.com/office/drawing/2014/main" id="{8AA04C3B-E0F3-43D5-A8DE-230F6B5A7731}"/>
              </a:ext>
            </a:extLst>
          </p:cNvPr>
          <p:cNvPicPr>
            <a:picLocks noChangeAspect="1"/>
          </p:cNvPicPr>
          <p:nvPr/>
        </p:nvPicPr>
        <p:blipFill>
          <a:blip r:embed="rId2"/>
          <a:stretch>
            <a:fillRect/>
          </a:stretch>
        </p:blipFill>
        <p:spPr>
          <a:xfrm>
            <a:off x="7740316" y="138781"/>
            <a:ext cx="4267202" cy="1008230"/>
          </a:xfrm>
          <a:prstGeom prst="rect">
            <a:avLst/>
          </a:prstGeom>
        </p:spPr>
      </p:pic>
      <p:graphicFrame>
        <p:nvGraphicFramePr>
          <p:cNvPr id="32" name="Diagram 12">
            <a:extLst>
              <a:ext uri="{FF2B5EF4-FFF2-40B4-BE49-F238E27FC236}">
                <a16:creationId xmlns:a16="http://schemas.microsoft.com/office/drawing/2014/main" id="{3CA503B1-A731-4551-860D-6DB7C5BAD517}"/>
              </a:ext>
            </a:extLst>
          </p:cNvPr>
          <p:cNvGraphicFramePr/>
          <p:nvPr>
            <p:extLst>
              <p:ext uri="{D42A27DB-BD31-4B8C-83A1-F6EECF244321}">
                <p14:modId xmlns:p14="http://schemas.microsoft.com/office/powerpoint/2010/main" val="1098237610"/>
              </p:ext>
            </p:extLst>
          </p:nvPr>
        </p:nvGraphicFramePr>
        <p:xfrm>
          <a:off x="1809687" y="1916404"/>
          <a:ext cx="8846392" cy="4013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726375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985D1B3-DD79-4798-9017-155771839D15}"/>
              </a:ext>
            </a:extLst>
          </p:cNvPr>
          <p:cNvSpPr>
            <a:spLocks noGrp="1"/>
          </p:cNvSpPr>
          <p:nvPr>
            <p:ph type="title"/>
          </p:nvPr>
        </p:nvSpPr>
        <p:spPr>
          <a:xfrm>
            <a:off x="635668" y="269875"/>
            <a:ext cx="6260432" cy="1325563"/>
          </a:xfrm>
        </p:spPr>
        <p:txBody>
          <a:bodyPr>
            <a:normAutofit/>
          </a:bodyPr>
          <a:lstStyle/>
          <a:p>
            <a:r>
              <a:rPr lang="en-GB" sz="2800" b="1" dirty="0">
                <a:solidFill>
                  <a:schemeClr val="accent1">
                    <a:lumMod val="75000"/>
                  </a:schemeClr>
                </a:solidFill>
              </a:rPr>
              <a:t>Digitalisation</a:t>
            </a:r>
            <a:r>
              <a:rPr lang="nb-NO" sz="2800" b="1" dirty="0">
                <a:solidFill>
                  <a:schemeClr val="accent1">
                    <a:lumMod val="75000"/>
                  </a:schemeClr>
                </a:solidFill>
              </a:rPr>
              <a:t> Problem Statement</a:t>
            </a:r>
          </a:p>
        </p:txBody>
      </p:sp>
      <p:sp>
        <p:nvSpPr>
          <p:cNvPr id="3" name="Plassholder for innhold 2">
            <a:extLst>
              <a:ext uri="{FF2B5EF4-FFF2-40B4-BE49-F238E27FC236}">
                <a16:creationId xmlns:a16="http://schemas.microsoft.com/office/drawing/2014/main" id="{A9F36BB1-3853-44CC-A19B-3D27A78D186D}"/>
              </a:ext>
            </a:extLst>
          </p:cNvPr>
          <p:cNvSpPr>
            <a:spLocks noGrp="1"/>
          </p:cNvSpPr>
          <p:nvPr>
            <p:ph idx="1"/>
          </p:nvPr>
        </p:nvSpPr>
        <p:spPr>
          <a:xfrm>
            <a:off x="742949" y="1346200"/>
            <a:ext cx="6153151" cy="5146675"/>
          </a:xfrm>
        </p:spPr>
        <p:txBody>
          <a:bodyPr>
            <a:normAutofit/>
          </a:bodyPr>
          <a:lstStyle/>
          <a:p>
            <a:pPr marL="0" marR="146880" indent="0" algn="l">
              <a:buNone/>
            </a:pPr>
            <a:r>
              <a:rPr lang="en-GB" sz="2200" b="1" i="0" u="none" strike="noStrike" baseline="0" dirty="0">
                <a:latin typeface="Calibri" panose="020F0502020204030204" pitchFamily="34" charset="0"/>
              </a:rPr>
              <a:t>Problem statement:</a:t>
            </a:r>
            <a:endParaRPr lang="en-GB" sz="2200" b="0" i="0" u="none" strike="noStrike" baseline="0" dirty="0">
              <a:latin typeface="Calibri" panose="020F0502020204030204" pitchFamily="34" charset="0"/>
            </a:endParaRPr>
          </a:p>
          <a:p>
            <a:pPr marR="86280" fontAlgn="base">
              <a:lnSpc>
                <a:spcPct val="100000"/>
              </a:lnSpc>
            </a:pPr>
            <a:r>
              <a:rPr lang="en-GB" sz="1500" dirty="0">
                <a:latin typeface="Segoe UI"/>
                <a:cs typeface="Segoe UI"/>
              </a:rPr>
              <a:t>Greater emphasis on design that supports human natural abilities when developing and implementing digital and automated systems</a:t>
            </a:r>
          </a:p>
          <a:p>
            <a:pPr marL="0" marR="86280" indent="0">
              <a:buNone/>
            </a:pPr>
            <a:r>
              <a:rPr lang="en-GB" sz="2200" b="1" i="0" u="none" strike="noStrike" baseline="0" dirty="0">
                <a:latin typeface="Calibri" panose="020F0502020204030204" pitchFamily="34" charset="0"/>
              </a:rPr>
              <a:t>Expected outcomes:</a:t>
            </a:r>
            <a:endParaRPr lang="en-GB" sz="2200" b="0" i="0" u="none" strike="noStrike" baseline="0" dirty="0">
              <a:latin typeface="Calibri" panose="020F0502020204030204" pitchFamily="34" charset="0"/>
            </a:endParaRPr>
          </a:p>
          <a:p>
            <a:pPr marR="86280" fontAlgn="base">
              <a:lnSpc>
                <a:spcPct val="100000"/>
              </a:lnSpc>
            </a:pPr>
            <a:r>
              <a:rPr lang="en-GB" sz="1500" dirty="0">
                <a:latin typeface="Segoe UI"/>
                <a:cs typeface="Segoe UI"/>
              </a:rPr>
              <a:t>Inclusion of human centred design, thus enabling human performance imperatives to be fulfilled</a:t>
            </a:r>
          </a:p>
          <a:p>
            <a:pPr marR="86280" fontAlgn="base">
              <a:lnSpc>
                <a:spcPct val="100000"/>
              </a:lnSpc>
            </a:pPr>
            <a:r>
              <a:rPr lang="en-GB" sz="1500" dirty="0">
                <a:latin typeface="Segoe UI"/>
                <a:cs typeface="Segoe UI"/>
              </a:rPr>
              <a:t>Increased competence and expertise on human centred design of system technology </a:t>
            </a:r>
          </a:p>
          <a:p>
            <a:pPr marR="86280" fontAlgn="base">
              <a:lnSpc>
                <a:spcPct val="100000"/>
              </a:lnSpc>
            </a:pPr>
            <a:r>
              <a:rPr lang="en-GB" sz="1500" dirty="0">
                <a:latin typeface="Segoe UI"/>
                <a:cs typeface="Segoe UI"/>
              </a:rPr>
              <a:t>Active sharing of experiences and lessons learned from successful implementations</a:t>
            </a:r>
          </a:p>
          <a:p>
            <a:pPr marL="0" marR="148590" indent="0" algn="l">
              <a:buNone/>
            </a:pPr>
            <a:r>
              <a:rPr lang="en-GB" sz="2200" b="1" i="0" u="none" strike="noStrike" baseline="0" dirty="0">
                <a:latin typeface="Calibri" panose="020F0502020204030204" pitchFamily="34" charset="0"/>
              </a:rPr>
              <a:t>Deliverables/KPIs: </a:t>
            </a:r>
            <a:endParaRPr lang="en-GB" sz="2200" b="0" i="0" u="none" strike="noStrike" baseline="0" dirty="0">
              <a:latin typeface="Calibri" panose="020F0502020204030204" pitchFamily="34" charset="0"/>
            </a:endParaRPr>
          </a:p>
          <a:p>
            <a:r>
              <a:rPr lang="en-GB" sz="1600" dirty="0">
                <a:solidFill>
                  <a:srgbClr val="000000"/>
                </a:solidFill>
                <a:latin typeface="Calibri" panose="020F0502020204030204" pitchFamily="34" charset="0"/>
              </a:rPr>
              <a:t>Joint IRF/IOGP/IADC implementation</a:t>
            </a:r>
          </a:p>
          <a:p>
            <a:r>
              <a:rPr lang="en-GB" sz="1600" dirty="0">
                <a:solidFill>
                  <a:srgbClr val="000000"/>
                </a:solidFill>
                <a:latin typeface="Calibri" panose="020F0502020204030204" pitchFamily="34" charset="0"/>
              </a:rPr>
              <a:t>Increased application of cross functional standards and best practices</a:t>
            </a:r>
          </a:p>
          <a:p>
            <a:r>
              <a:rPr lang="en-GB" sz="1600" dirty="0">
                <a:solidFill>
                  <a:srgbClr val="000000"/>
                </a:solidFill>
                <a:latin typeface="Calibri" panose="020F0502020204030204" pitchFamily="34" charset="0"/>
              </a:rPr>
              <a:t>Increased focus on human- automation interface</a:t>
            </a:r>
          </a:p>
          <a:p>
            <a:endParaRPr lang="nb-NO" sz="1600" dirty="0">
              <a:solidFill>
                <a:srgbClr val="000000"/>
              </a:solidFill>
              <a:latin typeface="Calibri" panose="020F0502020204030204" pitchFamily="34" charset="0"/>
            </a:endParaRPr>
          </a:p>
          <a:p>
            <a:pPr marL="0" indent="0">
              <a:buNone/>
            </a:pPr>
            <a:endParaRPr lang="nb-NO" dirty="0"/>
          </a:p>
        </p:txBody>
      </p:sp>
      <p:pic>
        <p:nvPicPr>
          <p:cNvPr id="8" name="Bilde 7">
            <a:extLst>
              <a:ext uri="{FF2B5EF4-FFF2-40B4-BE49-F238E27FC236}">
                <a16:creationId xmlns:a16="http://schemas.microsoft.com/office/drawing/2014/main" id="{4C10D244-5954-4DA5-946A-377EC366EB0F}"/>
              </a:ext>
            </a:extLst>
          </p:cNvPr>
          <p:cNvPicPr>
            <a:picLocks noChangeAspect="1"/>
          </p:cNvPicPr>
          <p:nvPr/>
        </p:nvPicPr>
        <p:blipFill>
          <a:blip r:embed="rId2"/>
          <a:stretch>
            <a:fillRect/>
          </a:stretch>
        </p:blipFill>
        <p:spPr>
          <a:xfrm>
            <a:off x="7327697" y="511072"/>
            <a:ext cx="4506951" cy="5981803"/>
          </a:xfrm>
          <a:prstGeom prst="rect">
            <a:avLst/>
          </a:prstGeom>
        </p:spPr>
      </p:pic>
    </p:spTree>
    <p:extLst>
      <p:ext uri="{BB962C8B-B14F-4D97-AF65-F5344CB8AC3E}">
        <p14:creationId xmlns:p14="http://schemas.microsoft.com/office/powerpoint/2010/main" val="4308054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D003D-A999-0B4B-937F-79600991C2C2}"/>
              </a:ext>
            </a:extLst>
          </p:cNvPr>
          <p:cNvSpPr>
            <a:spLocks noGrp="1"/>
          </p:cNvSpPr>
          <p:nvPr>
            <p:ph type="title"/>
          </p:nvPr>
        </p:nvSpPr>
        <p:spPr>
          <a:xfrm>
            <a:off x="838200" y="640630"/>
            <a:ext cx="7968049" cy="498475"/>
          </a:xfrm>
        </p:spPr>
        <p:txBody>
          <a:bodyPr>
            <a:noAutofit/>
          </a:bodyPr>
          <a:lstStyle/>
          <a:p>
            <a:r>
              <a:rPr lang="nb-NO" sz="2400" b="1">
                <a:solidFill>
                  <a:schemeClr val="accent1">
                    <a:lumMod val="75000"/>
                  </a:schemeClr>
                </a:solidFill>
              </a:rPr>
              <a:t>Organisation and </a:t>
            </a:r>
            <a:r>
              <a:rPr lang="nb-NO" sz="2400" b="1" err="1">
                <a:solidFill>
                  <a:schemeClr val="accent1">
                    <a:lumMod val="75000"/>
                  </a:schemeClr>
                </a:solidFill>
              </a:rPr>
              <a:t>reporting</a:t>
            </a:r>
            <a:endParaRPr lang="en-US" sz="2700"/>
          </a:p>
        </p:txBody>
      </p:sp>
      <p:sp>
        <p:nvSpPr>
          <p:cNvPr id="3" name="Content Placeholder 2">
            <a:extLst>
              <a:ext uri="{FF2B5EF4-FFF2-40B4-BE49-F238E27FC236}">
                <a16:creationId xmlns:a16="http://schemas.microsoft.com/office/drawing/2014/main" id="{0F696E6C-D0F4-0641-B1B4-D9A0897F979D}"/>
              </a:ext>
            </a:extLst>
          </p:cNvPr>
          <p:cNvSpPr>
            <a:spLocks noGrp="1"/>
          </p:cNvSpPr>
          <p:nvPr>
            <p:ph sz="half" idx="1"/>
          </p:nvPr>
        </p:nvSpPr>
        <p:spPr>
          <a:xfrm>
            <a:off x="838200" y="1599708"/>
            <a:ext cx="5435444" cy="4352308"/>
          </a:xfrm>
        </p:spPr>
        <p:txBody>
          <a:bodyPr vert="horz" lIns="91440" tIns="45720" rIns="91440" bIns="45720" rtlCol="0">
            <a:normAutofit fontScale="92500" lnSpcReduction="10000"/>
          </a:bodyPr>
          <a:lstStyle/>
          <a:p>
            <a:r>
              <a:rPr lang="en-AU" sz="1800" dirty="0"/>
              <a:t>IRF working group. </a:t>
            </a:r>
            <a:r>
              <a:rPr lang="nb-NO" sz="1800" dirty="0"/>
              <a:t>Reports to:</a:t>
            </a:r>
          </a:p>
          <a:p>
            <a:pPr marR="62660" lvl="1"/>
            <a:r>
              <a:rPr lang="en-US" sz="1800" dirty="0"/>
              <a:t>IRF management committee (3 monthly) </a:t>
            </a:r>
          </a:p>
          <a:p>
            <a:pPr marR="62660" lvl="1"/>
            <a:r>
              <a:rPr lang="en-US" sz="1800" dirty="0"/>
              <a:t>Entire IRF (twice per year) </a:t>
            </a:r>
          </a:p>
          <a:p>
            <a:pPr marL="0" indent="0">
              <a:buNone/>
            </a:pPr>
            <a:endParaRPr lang="en-AU" sz="1800" dirty="0"/>
          </a:p>
          <a:p>
            <a:r>
              <a:rPr lang="en-US" sz="1800" dirty="0"/>
              <a:t>IADC:</a:t>
            </a:r>
          </a:p>
          <a:p>
            <a:pPr lvl="1"/>
            <a:r>
              <a:rPr lang="en-US" sz="1800" dirty="0"/>
              <a:t>Nominate committees to engage</a:t>
            </a:r>
          </a:p>
          <a:p>
            <a:pPr lvl="1"/>
            <a:r>
              <a:rPr lang="en-US" sz="1800" dirty="0"/>
              <a:t>Identify and plan deliverables </a:t>
            </a:r>
            <a:br>
              <a:rPr lang="en-US" sz="1800" dirty="0"/>
            </a:br>
            <a:endParaRPr lang="en-US" sz="1800" dirty="0"/>
          </a:p>
          <a:p>
            <a:r>
              <a:rPr lang="en-US" sz="1800" dirty="0"/>
              <a:t>IOGP:</a:t>
            </a:r>
          </a:p>
          <a:p>
            <a:pPr lvl="1"/>
            <a:r>
              <a:rPr lang="en-US" sz="1800" dirty="0"/>
              <a:t>Nominate committees to engage</a:t>
            </a:r>
          </a:p>
          <a:p>
            <a:pPr lvl="1"/>
            <a:r>
              <a:rPr lang="en-US" sz="1800" dirty="0"/>
              <a:t>Identify and plan deliverables </a:t>
            </a:r>
          </a:p>
          <a:p>
            <a:pPr marL="0" indent="0">
              <a:buNone/>
            </a:pPr>
            <a:endParaRPr lang="nb-NO" sz="1800" dirty="0"/>
          </a:p>
          <a:p>
            <a:r>
              <a:rPr lang="en-US" sz="1800" dirty="0"/>
              <a:t>Other industry bodies and standards organizations to be engaged at a later stage</a:t>
            </a:r>
          </a:p>
          <a:p>
            <a:pPr marR="62660" lvl="1"/>
            <a:endParaRPr lang="en-AU" sz="1500" dirty="0">
              <a:latin typeface="Calibri" panose="020F0502020204030204" pitchFamily="34" charset="0"/>
            </a:endParaRPr>
          </a:p>
          <a:p>
            <a:pPr marL="0" indent="0">
              <a:buNone/>
            </a:pPr>
            <a:endParaRPr lang="en-US" sz="1500" dirty="0"/>
          </a:p>
        </p:txBody>
      </p:sp>
      <p:grpSp>
        <p:nvGrpSpPr>
          <p:cNvPr id="7" name="Group 6">
            <a:extLst>
              <a:ext uri="{FF2B5EF4-FFF2-40B4-BE49-F238E27FC236}">
                <a16:creationId xmlns:a16="http://schemas.microsoft.com/office/drawing/2014/main" id="{EB52E9E3-853C-4B6B-BE08-A2FEA717E623}"/>
              </a:ext>
            </a:extLst>
          </p:cNvPr>
          <p:cNvGrpSpPr/>
          <p:nvPr/>
        </p:nvGrpSpPr>
        <p:grpSpPr>
          <a:xfrm>
            <a:off x="6854633" y="1538114"/>
            <a:ext cx="1770459" cy="1627048"/>
            <a:chOff x="8804433" y="2765785"/>
            <a:chExt cx="1770459" cy="1627048"/>
          </a:xfrm>
        </p:grpSpPr>
        <p:pic>
          <p:nvPicPr>
            <p:cNvPr id="10" name="Picture 9">
              <a:extLst>
                <a:ext uri="{FF2B5EF4-FFF2-40B4-BE49-F238E27FC236}">
                  <a16:creationId xmlns:a16="http://schemas.microsoft.com/office/drawing/2014/main" id="{D5822CF0-0B9F-4D78-BDEF-936E47CEC496}"/>
                </a:ext>
              </a:extLst>
            </p:cNvPr>
            <p:cNvPicPr>
              <a:picLocks noChangeAspect="1"/>
            </p:cNvPicPr>
            <p:nvPr/>
          </p:nvPicPr>
          <p:blipFill rotWithShape="1">
            <a:blip r:embed="rId2"/>
            <a:srcRect r="64202"/>
            <a:stretch/>
          </p:blipFill>
          <p:spPr>
            <a:xfrm>
              <a:off x="9312970" y="3306992"/>
              <a:ext cx="882287" cy="511438"/>
            </a:xfrm>
            <a:prstGeom prst="rect">
              <a:avLst/>
            </a:prstGeom>
          </p:spPr>
        </p:pic>
        <p:sp>
          <p:nvSpPr>
            <p:cNvPr id="11" name="Shape 424">
              <a:extLst>
                <a:ext uri="{FF2B5EF4-FFF2-40B4-BE49-F238E27FC236}">
                  <a16:creationId xmlns:a16="http://schemas.microsoft.com/office/drawing/2014/main" id="{5B80C954-5FF8-4826-ABE6-99B895FC6110}"/>
                </a:ext>
              </a:extLst>
            </p:cNvPr>
            <p:cNvSpPr/>
            <p:nvPr/>
          </p:nvSpPr>
          <p:spPr>
            <a:xfrm>
              <a:off x="8804433" y="2765785"/>
              <a:ext cx="1770459" cy="1627048"/>
            </a:xfrm>
            <a:custGeom>
              <a:avLst/>
              <a:gdLst/>
              <a:ahLst/>
              <a:cxnLst>
                <a:cxn ang="0">
                  <a:pos x="wd2" y="hd2"/>
                </a:cxn>
                <a:cxn ang="5400000">
                  <a:pos x="wd2" y="hd2"/>
                </a:cxn>
                <a:cxn ang="10800000">
                  <a:pos x="wd2" y="hd2"/>
                </a:cxn>
                <a:cxn ang="16200000">
                  <a:pos x="wd2" y="hd2"/>
                </a:cxn>
              </a:cxnLst>
              <a:rect l="0" t="0" r="r" b="b"/>
              <a:pathLst>
                <a:path w="21600" h="21600" extrusionOk="0">
                  <a:moveTo>
                    <a:pt x="5499" y="10800"/>
                  </a:moveTo>
                  <a:cubicBezTo>
                    <a:pt x="5499" y="7872"/>
                    <a:pt x="7872" y="5499"/>
                    <a:pt x="10800" y="5499"/>
                  </a:cubicBezTo>
                  <a:cubicBezTo>
                    <a:pt x="13727" y="5499"/>
                    <a:pt x="16101" y="7872"/>
                    <a:pt x="16101" y="10800"/>
                  </a:cubicBezTo>
                  <a:cubicBezTo>
                    <a:pt x="16101" y="13727"/>
                    <a:pt x="13727" y="16101"/>
                    <a:pt x="10800" y="16101"/>
                  </a:cubicBezTo>
                  <a:cubicBezTo>
                    <a:pt x="7872" y="16101"/>
                    <a:pt x="5499" y="13727"/>
                    <a:pt x="5499" y="10800"/>
                  </a:cubicBezTo>
                  <a:close/>
                  <a:moveTo>
                    <a:pt x="0" y="9882"/>
                  </a:moveTo>
                  <a:lnTo>
                    <a:pt x="0" y="11719"/>
                  </a:lnTo>
                  <a:cubicBezTo>
                    <a:pt x="0" y="12203"/>
                    <a:pt x="397" y="12600"/>
                    <a:pt x="882" y="12600"/>
                  </a:cubicBezTo>
                  <a:lnTo>
                    <a:pt x="1963" y="12600"/>
                  </a:lnTo>
                  <a:cubicBezTo>
                    <a:pt x="2448" y="12600"/>
                    <a:pt x="2965" y="12978"/>
                    <a:pt x="3113" y="13440"/>
                  </a:cubicBezTo>
                  <a:lnTo>
                    <a:pt x="3495" y="14369"/>
                  </a:lnTo>
                  <a:cubicBezTo>
                    <a:pt x="3719" y="14800"/>
                    <a:pt x="3622" y="15433"/>
                    <a:pt x="3279" y="15776"/>
                  </a:cubicBezTo>
                  <a:lnTo>
                    <a:pt x="2514" y="16541"/>
                  </a:lnTo>
                  <a:cubicBezTo>
                    <a:pt x="2171" y="16884"/>
                    <a:pt x="2171" y="17444"/>
                    <a:pt x="2514" y="17788"/>
                  </a:cubicBezTo>
                  <a:lnTo>
                    <a:pt x="3812" y="19086"/>
                  </a:lnTo>
                  <a:cubicBezTo>
                    <a:pt x="4155" y="19429"/>
                    <a:pt x="4717" y="19429"/>
                    <a:pt x="5060" y="19086"/>
                  </a:cubicBezTo>
                  <a:lnTo>
                    <a:pt x="5825" y="18321"/>
                  </a:lnTo>
                  <a:cubicBezTo>
                    <a:pt x="6168" y="17978"/>
                    <a:pt x="6800" y="17880"/>
                    <a:pt x="7230" y="18105"/>
                  </a:cubicBezTo>
                  <a:lnTo>
                    <a:pt x="8160" y="18487"/>
                  </a:lnTo>
                  <a:cubicBezTo>
                    <a:pt x="8622" y="18634"/>
                    <a:pt x="9000" y="19152"/>
                    <a:pt x="9000" y="19637"/>
                  </a:cubicBezTo>
                  <a:lnTo>
                    <a:pt x="9000" y="20719"/>
                  </a:lnTo>
                  <a:cubicBezTo>
                    <a:pt x="9000" y="21203"/>
                    <a:pt x="9396" y="21600"/>
                    <a:pt x="9881" y="21600"/>
                  </a:cubicBezTo>
                  <a:lnTo>
                    <a:pt x="11718" y="21600"/>
                  </a:lnTo>
                  <a:cubicBezTo>
                    <a:pt x="12203" y="21600"/>
                    <a:pt x="12600" y="21203"/>
                    <a:pt x="12600" y="20719"/>
                  </a:cubicBezTo>
                  <a:lnTo>
                    <a:pt x="12600" y="19637"/>
                  </a:lnTo>
                  <a:cubicBezTo>
                    <a:pt x="12600" y="19152"/>
                    <a:pt x="12978" y="18634"/>
                    <a:pt x="13439" y="18487"/>
                  </a:cubicBezTo>
                  <a:lnTo>
                    <a:pt x="14370" y="18105"/>
                  </a:lnTo>
                  <a:cubicBezTo>
                    <a:pt x="14800" y="17880"/>
                    <a:pt x="15432" y="17978"/>
                    <a:pt x="15775" y="18321"/>
                  </a:cubicBezTo>
                  <a:lnTo>
                    <a:pt x="16540" y="19086"/>
                  </a:lnTo>
                  <a:cubicBezTo>
                    <a:pt x="16883" y="19429"/>
                    <a:pt x="17444" y="19429"/>
                    <a:pt x="17787" y="19086"/>
                  </a:cubicBezTo>
                  <a:lnTo>
                    <a:pt x="19086" y="17788"/>
                  </a:lnTo>
                  <a:cubicBezTo>
                    <a:pt x="19429" y="17444"/>
                    <a:pt x="19429" y="16884"/>
                    <a:pt x="19086" y="16541"/>
                  </a:cubicBezTo>
                  <a:lnTo>
                    <a:pt x="18321" y="15776"/>
                  </a:lnTo>
                  <a:cubicBezTo>
                    <a:pt x="17978" y="15433"/>
                    <a:pt x="17881" y="14800"/>
                    <a:pt x="18105" y="14369"/>
                  </a:cubicBezTo>
                  <a:lnTo>
                    <a:pt x="18486" y="13440"/>
                  </a:lnTo>
                  <a:cubicBezTo>
                    <a:pt x="18634" y="12978"/>
                    <a:pt x="19152" y="12600"/>
                    <a:pt x="19637" y="12600"/>
                  </a:cubicBezTo>
                  <a:lnTo>
                    <a:pt x="20718" y="12600"/>
                  </a:lnTo>
                  <a:cubicBezTo>
                    <a:pt x="21203" y="12600"/>
                    <a:pt x="21600" y="12203"/>
                    <a:pt x="21600" y="11719"/>
                  </a:cubicBezTo>
                  <a:lnTo>
                    <a:pt x="21600" y="9882"/>
                  </a:lnTo>
                  <a:cubicBezTo>
                    <a:pt x="21600" y="9397"/>
                    <a:pt x="21203" y="9000"/>
                    <a:pt x="20718" y="9000"/>
                  </a:cubicBezTo>
                  <a:lnTo>
                    <a:pt x="19637" y="9000"/>
                  </a:lnTo>
                  <a:cubicBezTo>
                    <a:pt x="19152" y="9000"/>
                    <a:pt x="18634" y="8622"/>
                    <a:pt x="18486" y="8161"/>
                  </a:cubicBezTo>
                  <a:lnTo>
                    <a:pt x="18105" y="7230"/>
                  </a:lnTo>
                  <a:cubicBezTo>
                    <a:pt x="17881" y="6800"/>
                    <a:pt x="17978" y="6168"/>
                    <a:pt x="18321" y="5825"/>
                  </a:cubicBezTo>
                  <a:lnTo>
                    <a:pt x="19086" y="5059"/>
                  </a:lnTo>
                  <a:cubicBezTo>
                    <a:pt x="19429" y="4717"/>
                    <a:pt x="19429" y="4156"/>
                    <a:pt x="19086" y="3812"/>
                  </a:cubicBezTo>
                  <a:lnTo>
                    <a:pt x="17787" y="2514"/>
                  </a:lnTo>
                  <a:cubicBezTo>
                    <a:pt x="17444" y="2171"/>
                    <a:pt x="16883" y="2171"/>
                    <a:pt x="16540" y="2514"/>
                  </a:cubicBezTo>
                  <a:lnTo>
                    <a:pt x="15775" y="3279"/>
                  </a:lnTo>
                  <a:cubicBezTo>
                    <a:pt x="15432" y="3622"/>
                    <a:pt x="14800" y="3719"/>
                    <a:pt x="14370" y="3495"/>
                  </a:cubicBezTo>
                  <a:lnTo>
                    <a:pt x="13439" y="3113"/>
                  </a:lnTo>
                  <a:cubicBezTo>
                    <a:pt x="12978" y="2965"/>
                    <a:pt x="12600" y="2448"/>
                    <a:pt x="12600" y="1963"/>
                  </a:cubicBezTo>
                  <a:lnTo>
                    <a:pt x="12600" y="882"/>
                  </a:lnTo>
                  <a:cubicBezTo>
                    <a:pt x="12600" y="396"/>
                    <a:pt x="12203" y="0"/>
                    <a:pt x="11718" y="0"/>
                  </a:cubicBezTo>
                  <a:lnTo>
                    <a:pt x="9881" y="0"/>
                  </a:lnTo>
                  <a:cubicBezTo>
                    <a:pt x="9396" y="0"/>
                    <a:pt x="9000" y="396"/>
                    <a:pt x="9000" y="882"/>
                  </a:cubicBezTo>
                  <a:lnTo>
                    <a:pt x="9000" y="1963"/>
                  </a:lnTo>
                  <a:cubicBezTo>
                    <a:pt x="9000" y="2448"/>
                    <a:pt x="8622" y="2965"/>
                    <a:pt x="8160" y="3113"/>
                  </a:cubicBezTo>
                  <a:lnTo>
                    <a:pt x="7230" y="3495"/>
                  </a:lnTo>
                  <a:cubicBezTo>
                    <a:pt x="6800" y="3719"/>
                    <a:pt x="6168" y="3622"/>
                    <a:pt x="5825" y="3279"/>
                  </a:cubicBezTo>
                  <a:lnTo>
                    <a:pt x="5060" y="2514"/>
                  </a:lnTo>
                  <a:cubicBezTo>
                    <a:pt x="4717" y="2171"/>
                    <a:pt x="4155" y="2171"/>
                    <a:pt x="3812" y="2514"/>
                  </a:cubicBezTo>
                  <a:lnTo>
                    <a:pt x="2514" y="3812"/>
                  </a:lnTo>
                  <a:cubicBezTo>
                    <a:pt x="2171" y="4156"/>
                    <a:pt x="2171" y="4717"/>
                    <a:pt x="2514" y="5059"/>
                  </a:cubicBezTo>
                  <a:lnTo>
                    <a:pt x="3279" y="5825"/>
                  </a:lnTo>
                  <a:cubicBezTo>
                    <a:pt x="3622" y="6168"/>
                    <a:pt x="3719" y="6800"/>
                    <a:pt x="3495" y="7230"/>
                  </a:cubicBezTo>
                  <a:lnTo>
                    <a:pt x="3113" y="8161"/>
                  </a:lnTo>
                  <a:cubicBezTo>
                    <a:pt x="2965" y="8622"/>
                    <a:pt x="2448" y="9000"/>
                    <a:pt x="1963" y="9000"/>
                  </a:cubicBezTo>
                  <a:lnTo>
                    <a:pt x="882" y="9000"/>
                  </a:lnTo>
                  <a:cubicBezTo>
                    <a:pt x="397" y="9000"/>
                    <a:pt x="0" y="9397"/>
                    <a:pt x="0" y="9882"/>
                  </a:cubicBezTo>
                  <a:close/>
                </a:path>
              </a:pathLst>
            </a:custGeom>
            <a:solidFill>
              <a:srgbClr val="3767A0"/>
            </a:solidFill>
            <a:ln w="12700" cap="flat">
              <a:noFill/>
              <a:miter lim="400000"/>
            </a:ln>
            <a:effectLst/>
          </p:spPr>
          <p:txBody>
            <a:bodyPr wrap="square" lIns="38100" tIns="38100" rIns="38100" bIns="38100" numCol="1" anchor="ctr">
              <a:noAutofit/>
            </a:bodyPr>
            <a:lstStyle/>
            <a:p>
              <a:pPr marL="0" marR="0" lvl="0" indent="0" defTabSz="228554"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Source Sans Pro Light"/>
                <a:ea typeface="Source Sans Pro Light"/>
                <a:cs typeface="Source Sans Pro Light"/>
                <a:sym typeface="Source Sans Pro Light"/>
              </a:endParaRPr>
            </a:p>
          </p:txBody>
        </p:sp>
      </p:grpSp>
      <p:grpSp>
        <p:nvGrpSpPr>
          <p:cNvPr id="6" name="Group 5">
            <a:extLst>
              <a:ext uri="{FF2B5EF4-FFF2-40B4-BE49-F238E27FC236}">
                <a16:creationId xmlns:a16="http://schemas.microsoft.com/office/drawing/2014/main" id="{6220C429-2514-4E01-9B40-86F4DAFC282E}"/>
              </a:ext>
            </a:extLst>
          </p:cNvPr>
          <p:cNvGrpSpPr/>
          <p:nvPr/>
        </p:nvGrpSpPr>
        <p:grpSpPr>
          <a:xfrm>
            <a:off x="8272576" y="2368311"/>
            <a:ext cx="1770459" cy="1627048"/>
            <a:chOff x="7491316" y="1954850"/>
            <a:chExt cx="1770459" cy="1627048"/>
          </a:xfrm>
        </p:grpSpPr>
        <p:pic>
          <p:nvPicPr>
            <p:cNvPr id="12" name="Picture 11">
              <a:extLst>
                <a:ext uri="{FF2B5EF4-FFF2-40B4-BE49-F238E27FC236}">
                  <a16:creationId xmlns:a16="http://schemas.microsoft.com/office/drawing/2014/main" id="{98F49E6C-568F-477A-A8D7-1BB2777C815E}"/>
                </a:ext>
              </a:extLst>
            </p:cNvPr>
            <p:cNvPicPr>
              <a:picLocks noChangeAspect="1"/>
            </p:cNvPicPr>
            <p:nvPr/>
          </p:nvPicPr>
          <p:blipFill rotWithShape="1">
            <a:blip r:embed="rId3"/>
            <a:srcRect l="2477"/>
            <a:stretch/>
          </p:blipFill>
          <p:spPr>
            <a:xfrm>
              <a:off x="8022358" y="2534774"/>
              <a:ext cx="777268" cy="396514"/>
            </a:xfrm>
            <a:prstGeom prst="rect">
              <a:avLst/>
            </a:prstGeom>
          </p:spPr>
        </p:pic>
        <p:sp>
          <p:nvSpPr>
            <p:cNvPr id="13" name="Shape 421">
              <a:extLst>
                <a:ext uri="{FF2B5EF4-FFF2-40B4-BE49-F238E27FC236}">
                  <a16:creationId xmlns:a16="http://schemas.microsoft.com/office/drawing/2014/main" id="{37139C7D-E041-4B0B-B4C7-F3B71E9D9CA2}"/>
                </a:ext>
              </a:extLst>
            </p:cNvPr>
            <p:cNvSpPr/>
            <p:nvPr/>
          </p:nvSpPr>
          <p:spPr>
            <a:xfrm>
              <a:off x="7491316" y="1954850"/>
              <a:ext cx="1770459" cy="1627048"/>
            </a:xfrm>
            <a:custGeom>
              <a:avLst/>
              <a:gdLst/>
              <a:ahLst/>
              <a:cxnLst>
                <a:cxn ang="0">
                  <a:pos x="wd2" y="hd2"/>
                </a:cxn>
                <a:cxn ang="5400000">
                  <a:pos x="wd2" y="hd2"/>
                </a:cxn>
                <a:cxn ang="10800000">
                  <a:pos x="wd2" y="hd2"/>
                </a:cxn>
                <a:cxn ang="16200000">
                  <a:pos x="wd2" y="hd2"/>
                </a:cxn>
              </a:cxnLst>
              <a:rect l="0" t="0" r="r" b="b"/>
              <a:pathLst>
                <a:path w="21600" h="21600" extrusionOk="0">
                  <a:moveTo>
                    <a:pt x="5499" y="10800"/>
                  </a:moveTo>
                  <a:cubicBezTo>
                    <a:pt x="5499" y="7872"/>
                    <a:pt x="7872" y="5500"/>
                    <a:pt x="10800" y="5500"/>
                  </a:cubicBezTo>
                  <a:cubicBezTo>
                    <a:pt x="13728" y="5500"/>
                    <a:pt x="16101" y="7872"/>
                    <a:pt x="16101" y="10800"/>
                  </a:cubicBezTo>
                  <a:cubicBezTo>
                    <a:pt x="16101" y="13728"/>
                    <a:pt x="13728" y="16101"/>
                    <a:pt x="10800" y="16101"/>
                  </a:cubicBezTo>
                  <a:cubicBezTo>
                    <a:pt x="7872" y="16101"/>
                    <a:pt x="5499" y="13728"/>
                    <a:pt x="5499" y="10800"/>
                  </a:cubicBezTo>
                  <a:close/>
                  <a:moveTo>
                    <a:pt x="0" y="9882"/>
                  </a:moveTo>
                  <a:lnTo>
                    <a:pt x="0" y="11719"/>
                  </a:lnTo>
                  <a:cubicBezTo>
                    <a:pt x="0" y="12204"/>
                    <a:pt x="397" y="12601"/>
                    <a:pt x="882" y="12601"/>
                  </a:cubicBezTo>
                  <a:lnTo>
                    <a:pt x="1963" y="12601"/>
                  </a:lnTo>
                  <a:cubicBezTo>
                    <a:pt x="2448" y="12601"/>
                    <a:pt x="2965" y="12978"/>
                    <a:pt x="3113" y="13439"/>
                  </a:cubicBezTo>
                  <a:lnTo>
                    <a:pt x="3495" y="14371"/>
                  </a:lnTo>
                  <a:cubicBezTo>
                    <a:pt x="3719" y="14800"/>
                    <a:pt x="3621" y="15433"/>
                    <a:pt x="3279" y="15776"/>
                  </a:cubicBezTo>
                  <a:lnTo>
                    <a:pt x="2514" y="16541"/>
                  </a:lnTo>
                  <a:cubicBezTo>
                    <a:pt x="2170" y="16884"/>
                    <a:pt x="2170" y="17444"/>
                    <a:pt x="2514" y="17787"/>
                  </a:cubicBezTo>
                  <a:lnTo>
                    <a:pt x="3812" y="19087"/>
                  </a:lnTo>
                  <a:cubicBezTo>
                    <a:pt x="4156" y="19430"/>
                    <a:pt x="4716" y="19430"/>
                    <a:pt x="5059" y="19087"/>
                  </a:cubicBezTo>
                  <a:lnTo>
                    <a:pt x="5824" y="18321"/>
                  </a:lnTo>
                  <a:cubicBezTo>
                    <a:pt x="6167" y="17979"/>
                    <a:pt x="6800" y="17882"/>
                    <a:pt x="7230" y="18105"/>
                  </a:cubicBezTo>
                  <a:lnTo>
                    <a:pt x="8160" y="18487"/>
                  </a:lnTo>
                  <a:cubicBezTo>
                    <a:pt x="8622" y="18635"/>
                    <a:pt x="9001" y="19152"/>
                    <a:pt x="9001" y="19637"/>
                  </a:cubicBezTo>
                  <a:lnTo>
                    <a:pt x="9001" y="20718"/>
                  </a:lnTo>
                  <a:cubicBezTo>
                    <a:pt x="9001" y="21203"/>
                    <a:pt x="9398" y="21600"/>
                    <a:pt x="9882" y="21600"/>
                  </a:cubicBezTo>
                  <a:lnTo>
                    <a:pt x="11718" y="21600"/>
                  </a:lnTo>
                  <a:cubicBezTo>
                    <a:pt x="12204" y="21600"/>
                    <a:pt x="12601" y="21203"/>
                    <a:pt x="12601" y="20718"/>
                  </a:cubicBezTo>
                  <a:lnTo>
                    <a:pt x="12601" y="19637"/>
                  </a:lnTo>
                  <a:cubicBezTo>
                    <a:pt x="12601" y="19152"/>
                    <a:pt x="12978" y="18635"/>
                    <a:pt x="13440" y="18487"/>
                  </a:cubicBezTo>
                  <a:lnTo>
                    <a:pt x="14370" y="18105"/>
                  </a:lnTo>
                  <a:cubicBezTo>
                    <a:pt x="14800" y="17882"/>
                    <a:pt x="15433" y="17979"/>
                    <a:pt x="15775" y="18321"/>
                  </a:cubicBezTo>
                  <a:lnTo>
                    <a:pt x="16541" y="19087"/>
                  </a:lnTo>
                  <a:cubicBezTo>
                    <a:pt x="16884" y="19430"/>
                    <a:pt x="17444" y="19430"/>
                    <a:pt x="17788" y="19087"/>
                  </a:cubicBezTo>
                  <a:lnTo>
                    <a:pt x="19087" y="17787"/>
                  </a:lnTo>
                  <a:cubicBezTo>
                    <a:pt x="19430" y="17444"/>
                    <a:pt x="19430" y="16884"/>
                    <a:pt x="19087" y="16541"/>
                  </a:cubicBezTo>
                  <a:lnTo>
                    <a:pt x="18321" y="15776"/>
                  </a:lnTo>
                  <a:cubicBezTo>
                    <a:pt x="17979" y="15433"/>
                    <a:pt x="17882" y="14801"/>
                    <a:pt x="18105" y="14371"/>
                  </a:cubicBezTo>
                  <a:lnTo>
                    <a:pt x="18487" y="13439"/>
                  </a:lnTo>
                  <a:cubicBezTo>
                    <a:pt x="18635" y="12978"/>
                    <a:pt x="19152" y="12601"/>
                    <a:pt x="19637" y="12601"/>
                  </a:cubicBezTo>
                  <a:lnTo>
                    <a:pt x="20718" y="12601"/>
                  </a:lnTo>
                  <a:cubicBezTo>
                    <a:pt x="21203" y="12601"/>
                    <a:pt x="21600" y="12204"/>
                    <a:pt x="21600" y="11719"/>
                  </a:cubicBezTo>
                  <a:lnTo>
                    <a:pt x="21600" y="9882"/>
                  </a:lnTo>
                  <a:cubicBezTo>
                    <a:pt x="21600" y="9396"/>
                    <a:pt x="21203" y="8999"/>
                    <a:pt x="20718" y="8999"/>
                  </a:cubicBezTo>
                  <a:lnTo>
                    <a:pt x="19637" y="8999"/>
                  </a:lnTo>
                  <a:cubicBezTo>
                    <a:pt x="19152" y="8999"/>
                    <a:pt x="18635" y="8623"/>
                    <a:pt x="18487" y="8161"/>
                  </a:cubicBezTo>
                  <a:lnTo>
                    <a:pt x="18105" y="7229"/>
                  </a:lnTo>
                  <a:cubicBezTo>
                    <a:pt x="17882" y="6800"/>
                    <a:pt x="17979" y="6167"/>
                    <a:pt x="18321" y="5825"/>
                  </a:cubicBezTo>
                  <a:lnTo>
                    <a:pt x="19087" y="5060"/>
                  </a:lnTo>
                  <a:cubicBezTo>
                    <a:pt x="19430" y="4718"/>
                    <a:pt x="19430" y="4156"/>
                    <a:pt x="19087" y="3813"/>
                  </a:cubicBezTo>
                  <a:lnTo>
                    <a:pt x="17788" y="2514"/>
                  </a:lnTo>
                  <a:cubicBezTo>
                    <a:pt x="17444" y="2171"/>
                    <a:pt x="16884" y="2171"/>
                    <a:pt x="16541" y="2514"/>
                  </a:cubicBezTo>
                  <a:lnTo>
                    <a:pt x="15775" y="3279"/>
                  </a:lnTo>
                  <a:cubicBezTo>
                    <a:pt x="15433" y="3621"/>
                    <a:pt x="14800" y="3718"/>
                    <a:pt x="14370" y="3495"/>
                  </a:cubicBezTo>
                  <a:lnTo>
                    <a:pt x="13440" y="3114"/>
                  </a:lnTo>
                  <a:cubicBezTo>
                    <a:pt x="12978" y="2965"/>
                    <a:pt x="12601" y="2448"/>
                    <a:pt x="12601" y="1963"/>
                  </a:cubicBezTo>
                  <a:lnTo>
                    <a:pt x="12601" y="882"/>
                  </a:lnTo>
                  <a:cubicBezTo>
                    <a:pt x="12601" y="397"/>
                    <a:pt x="12204" y="0"/>
                    <a:pt x="11718" y="0"/>
                  </a:cubicBezTo>
                  <a:lnTo>
                    <a:pt x="9882" y="0"/>
                  </a:lnTo>
                  <a:cubicBezTo>
                    <a:pt x="9398" y="0"/>
                    <a:pt x="9001" y="397"/>
                    <a:pt x="9001" y="882"/>
                  </a:cubicBezTo>
                  <a:lnTo>
                    <a:pt x="9001" y="1963"/>
                  </a:lnTo>
                  <a:cubicBezTo>
                    <a:pt x="9001" y="2448"/>
                    <a:pt x="8622" y="2965"/>
                    <a:pt x="8160" y="3114"/>
                  </a:cubicBezTo>
                  <a:lnTo>
                    <a:pt x="7230" y="3495"/>
                  </a:lnTo>
                  <a:cubicBezTo>
                    <a:pt x="6800" y="3718"/>
                    <a:pt x="6167" y="3621"/>
                    <a:pt x="5824" y="3279"/>
                  </a:cubicBezTo>
                  <a:lnTo>
                    <a:pt x="5059" y="2514"/>
                  </a:lnTo>
                  <a:cubicBezTo>
                    <a:pt x="4716" y="2171"/>
                    <a:pt x="4156" y="2171"/>
                    <a:pt x="3812" y="2514"/>
                  </a:cubicBezTo>
                  <a:lnTo>
                    <a:pt x="2514" y="3813"/>
                  </a:lnTo>
                  <a:cubicBezTo>
                    <a:pt x="2170" y="4156"/>
                    <a:pt x="2170" y="4718"/>
                    <a:pt x="2514" y="5060"/>
                  </a:cubicBezTo>
                  <a:lnTo>
                    <a:pt x="3279" y="5825"/>
                  </a:lnTo>
                  <a:cubicBezTo>
                    <a:pt x="3621" y="6167"/>
                    <a:pt x="3719" y="6800"/>
                    <a:pt x="3495" y="7229"/>
                  </a:cubicBezTo>
                  <a:lnTo>
                    <a:pt x="3113" y="8161"/>
                  </a:lnTo>
                  <a:cubicBezTo>
                    <a:pt x="2965" y="8623"/>
                    <a:pt x="2448" y="8999"/>
                    <a:pt x="1963" y="8999"/>
                  </a:cubicBezTo>
                  <a:lnTo>
                    <a:pt x="882" y="8999"/>
                  </a:lnTo>
                  <a:cubicBezTo>
                    <a:pt x="397" y="8999"/>
                    <a:pt x="0" y="9396"/>
                    <a:pt x="0" y="9882"/>
                  </a:cubicBezTo>
                  <a:close/>
                </a:path>
              </a:pathLst>
            </a:custGeom>
            <a:solidFill>
              <a:srgbClr val="F58220"/>
            </a:solidFill>
            <a:ln w="12700" cap="flat">
              <a:noFill/>
              <a:miter lim="400000"/>
            </a:ln>
            <a:effectLst/>
          </p:spPr>
          <p:txBody>
            <a:bodyPr wrap="square" lIns="38100" tIns="38100" rIns="38100" bIns="38100" numCol="1" anchor="ctr">
              <a:noAutofit/>
            </a:bodyPr>
            <a:lstStyle/>
            <a:p>
              <a:pPr marL="0" marR="0" lvl="0" indent="0" defTabSz="228554"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Source Sans Pro Light"/>
                <a:ea typeface="Source Sans Pro Light"/>
                <a:cs typeface="Source Sans Pro Light"/>
                <a:sym typeface="Source Sans Pro Light"/>
              </a:endParaRPr>
            </a:p>
          </p:txBody>
        </p:sp>
      </p:grpSp>
      <p:grpSp>
        <p:nvGrpSpPr>
          <p:cNvPr id="5" name="Group 4">
            <a:extLst>
              <a:ext uri="{FF2B5EF4-FFF2-40B4-BE49-F238E27FC236}">
                <a16:creationId xmlns:a16="http://schemas.microsoft.com/office/drawing/2014/main" id="{17C92CDA-66C1-45F9-B358-3AC1AE5EC4FF}"/>
              </a:ext>
            </a:extLst>
          </p:cNvPr>
          <p:cNvGrpSpPr/>
          <p:nvPr/>
        </p:nvGrpSpPr>
        <p:grpSpPr>
          <a:xfrm>
            <a:off x="7373787" y="3625592"/>
            <a:ext cx="1770459" cy="1627048"/>
            <a:chOff x="9715799" y="1546794"/>
            <a:chExt cx="1770459" cy="1627048"/>
          </a:xfrm>
        </p:grpSpPr>
        <p:pic>
          <p:nvPicPr>
            <p:cNvPr id="14" name="Picture 13">
              <a:extLst>
                <a:ext uri="{FF2B5EF4-FFF2-40B4-BE49-F238E27FC236}">
                  <a16:creationId xmlns:a16="http://schemas.microsoft.com/office/drawing/2014/main" id="{A31EC37F-55CC-4AC7-9680-32590D0A98A0}"/>
                </a:ext>
              </a:extLst>
            </p:cNvPr>
            <p:cNvPicPr>
              <a:picLocks noChangeAspect="1"/>
            </p:cNvPicPr>
            <p:nvPr/>
          </p:nvPicPr>
          <p:blipFill>
            <a:blip r:embed="rId4"/>
            <a:stretch>
              <a:fillRect/>
            </a:stretch>
          </p:blipFill>
          <p:spPr>
            <a:xfrm>
              <a:off x="10298725" y="2020357"/>
              <a:ext cx="606544" cy="679921"/>
            </a:xfrm>
            <a:prstGeom prst="rect">
              <a:avLst/>
            </a:prstGeom>
          </p:spPr>
        </p:pic>
        <p:sp>
          <p:nvSpPr>
            <p:cNvPr id="15" name="Shape 421">
              <a:extLst>
                <a:ext uri="{FF2B5EF4-FFF2-40B4-BE49-F238E27FC236}">
                  <a16:creationId xmlns:a16="http://schemas.microsoft.com/office/drawing/2014/main" id="{AC08C3B4-435B-40CC-8B8A-8283E06669F0}"/>
                </a:ext>
              </a:extLst>
            </p:cNvPr>
            <p:cNvSpPr/>
            <p:nvPr/>
          </p:nvSpPr>
          <p:spPr>
            <a:xfrm>
              <a:off x="9715799" y="1546794"/>
              <a:ext cx="1770459" cy="1627048"/>
            </a:xfrm>
            <a:custGeom>
              <a:avLst/>
              <a:gdLst/>
              <a:ahLst/>
              <a:cxnLst>
                <a:cxn ang="0">
                  <a:pos x="wd2" y="hd2"/>
                </a:cxn>
                <a:cxn ang="5400000">
                  <a:pos x="wd2" y="hd2"/>
                </a:cxn>
                <a:cxn ang="10800000">
                  <a:pos x="wd2" y="hd2"/>
                </a:cxn>
                <a:cxn ang="16200000">
                  <a:pos x="wd2" y="hd2"/>
                </a:cxn>
              </a:cxnLst>
              <a:rect l="0" t="0" r="r" b="b"/>
              <a:pathLst>
                <a:path w="21600" h="21600" extrusionOk="0">
                  <a:moveTo>
                    <a:pt x="5499" y="10800"/>
                  </a:moveTo>
                  <a:cubicBezTo>
                    <a:pt x="5499" y="7872"/>
                    <a:pt x="7872" y="5500"/>
                    <a:pt x="10800" y="5500"/>
                  </a:cubicBezTo>
                  <a:cubicBezTo>
                    <a:pt x="13728" y="5500"/>
                    <a:pt x="16101" y="7872"/>
                    <a:pt x="16101" y="10800"/>
                  </a:cubicBezTo>
                  <a:cubicBezTo>
                    <a:pt x="16101" y="13728"/>
                    <a:pt x="13728" y="16101"/>
                    <a:pt x="10800" y="16101"/>
                  </a:cubicBezTo>
                  <a:cubicBezTo>
                    <a:pt x="7872" y="16101"/>
                    <a:pt x="5499" y="13728"/>
                    <a:pt x="5499" y="10800"/>
                  </a:cubicBezTo>
                  <a:close/>
                  <a:moveTo>
                    <a:pt x="0" y="9882"/>
                  </a:moveTo>
                  <a:lnTo>
                    <a:pt x="0" y="11719"/>
                  </a:lnTo>
                  <a:cubicBezTo>
                    <a:pt x="0" y="12204"/>
                    <a:pt x="397" y="12601"/>
                    <a:pt x="882" y="12601"/>
                  </a:cubicBezTo>
                  <a:lnTo>
                    <a:pt x="1963" y="12601"/>
                  </a:lnTo>
                  <a:cubicBezTo>
                    <a:pt x="2448" y="12601"/>
                    <a:pt x="2965" y="12978"/>
                    <a:pt x="3113" y="13439"/>
                  </a:cubicBezTo>
                  <a:lnTo>
                    <a:pt x="3495" y="14371"/>
                  </a:lnTo>
                  <a:cubicBezTo>
                    <a:pt x="3719" y="14800"/>
                    <a:pt x="3621" y="15433"/>
                    <a:pt x="3279" y="15776"/>
                  </a:cubicBezTo>
                  <a:lnTo>
                    <a:pt x="2514" y="16541"/>
                  </a:lnTo>
                  <a:cubicBezTo>
                    <a:pt x="2170" y="16884"/>
                    <a:pt x="2170" y="17444"/>
                    <a:pt x="2514" y="17787"/>
                  </a:cubicBezTo>
                  <a:lnTo>
                    <a:pt x="3812" y="19087"/>
                  </a:lnTo>
                  <a:cubicBezTo>
                    <a:pt x="4156" y="19430"/>
                    <a:pt x="4716" y="19430"/>
                    <a:pt x="5059" y="19087"/>
                  </a:cubicBezTo>
                  <a:lnTo>
                    <a:pt x="5824" y="18321"/>
                  </a:lnTo>
                  <a:cubicBezTo>
                    <a:pt x="6167" y="17979"/>
                    <a:pt x="6800" y="17882"/>
                    <a:pt x="7230" y="18105"/>
                  </a:cubicBezTo>
                  <a:lnTo>
                    <a:pt x="8160" y="18487"/>
                  </a:lnTo>
                  <a:cubicBezTo>
                    <a:pt x="8622" y="18635"/>
                    <a:pt x="9001" y="19152"/>
                    <a:pt x="9001" y="19637"/>
                  </a:cubicBezTo>
                  <a:lnTo>
                    <a:pt x="9001" y="20718"/>
                  </a:lnTo>
                  <a:cubicBezTo>
                    <a:pt x="9001" y="21203"/>
                    <a:pt x="9398" y="21600"/>
                    <a:pt x="9882" y="21600"/>
                  </a:cubicBezTo>
                  <a:lnTo>
                    <a:pt x="11718" y="21600"/>
                  </a:lnTo>
                  <a:cubicBezTo>
                    <a:pt x="12204" y="21600"/>
                    <a:pt x="12601" y="21203"/>
                    <a:pt x="12601" y="20718"/>
                  </a:cubicBezTo>
                  <a:lnTo>
                    <a:pt x="12601" y="19637"/>
                  </a:lnTo>
                  <a:cubicBezTo>
                    <a:pt x="12601" y="19152"/>
                    <a:pt x="12978" y="18635"/>
                    <a:pt x="13440" y="18487"/>
                  </a:cubicBezTo>
                  <a:lnTo>
                    <a:pt x="14370" y="18105"/>
                  </a:lnTo>
                  <a:cubicBezTo>
                    <a:pt x="14800" y="17882"/>
                    <a:pt x="15433" y="17979"/>
                    <a:pt x="15775" y="18321"/>
                  </a:cubicBezTo>
                  <a:lnTo>
                    <a:pt x="16541" y="19087"/>
                  </a:lnTo>
                  <a:cubicBezTo>
                    <a:pt x="16884" y="19430"/>
                    <a:pt x="17444" y="19430"/>
                    <a:pt x="17788" y="19087"/>
                  </a:cubicBezTo>
                  <a:lnTo>
                    <a:pt x="19087" y="17787"/>
                  </a:lnTo>
                  <a:cubicBezTo>
                    <a:pt x="19430" y="17444"/>
                    <a:pt x="19430" y="16884"/>
                    <a:pt x="19087" y="16541"/>
                  </a:cubicBezTo>
                  <a:lnTo>
                    <a:pt x="18321" y="15776"/>
                  </a:lnTo>
                  <a:cubicBezTo>
                    <a:pt x="17979" y="15433"/>
                    <a:pt x="17882" y="14801"/>
                    <a:pt x="18105" y="14371"/>
                  </a:cubicBezTo>
                  <a:lnTo>
                    <a:pt x="18487" y="13439"/>
                  </a:lnTo>
                  <a:cubicBezTo>
                    <a:pt x="18635" y="12978"/>
                    <a:pt x="19152" y="12601"/>
                    <a:pt x="19637" y="12601"/>
                  </a:cubicBezTo>
                  <a:lnTo>
                    <a:pt x="20718" y="12601"/>
                  </a:lnTo>
                  <a:cubicBezTo>
                    <a:pt x="21203" y="12601"/>
                    <a:pt x="21600" y="12204"/>
                    <a:pt x="21600" y="11719"/>
                  </a:cubicBezTo>
                  <a:lnTo>
                    <a:pt x="21600" y="9882"/>
                  </a:lnTo>
                  <a:cubicBezTo>
                    <a:pt x="21600" y="9396"/>
                    <a:pt x="21203" y="8999"/>
                    <a:pt x="20718" y="8999"/>
                  </a:cubicBezTo>
                  <a:lnTo>
                    <a:pt x="19637" y="8999"/>
                  </a:lnTo>
                  <a:cubicBezTo>
                    <a:pt x="19152" y="8999"/>
                    <a:pt x="18635" y="8623"/>
                    <a:pt x="18487" y="8161"/>
                  </a:cubicBezTo>
                  <a:lnTo>
                    <a:pt x="18105" y="7229"/>
                  </a:lnTo>
                  <a:cubicBezTo>
                    <a:pt x="17882" y="6800"/>
                    <a:pt x="17979" y="6167"/>
                    <a:pt x="18321" y="5825"/>
                  </a:cubicBezTo>
                  <a:lnTo>
                    <a:pt x="19087" y="5060"/>
                  </a:lnTo>
                  <a:cubicBezTo>
                    <a:pt x="19430" y="4718"/>
                    <a:pt x="19430" y="4156"/>
                    <a:pt x="19087" y="3813"/>
                  </a:cubicBezTo>
                  <a:lnTo>
                    <a:pt x="17788" y="2514"/>
                  </a:lnTo>
                  <a:cubicBezTo>
                    <a:pt x="17444" y="2171"/>
                    <a:pt x="16884" y="2171"/>
                    <a:pt x="16541" y="2514"/>
                  </a:cubicBezTo>
                  <a:lnTo>
                    <a:pt x="15775" y="3279"/>
                  </a:lnTo>
                  <a:cubicBezTo>
                    <a:pt x="15433" y="3621"/>
                    <a:pt x="14800" y="3718"/>
                    <a:pt x="14370" y="3495"/>
                  </a:cubicBezTo>
                  <a:lnTo>
                    <a:pt x="13440" y="3114"/>
                  </a:lnTo>
                  <a:cubicBezTo>
                    <a:pt x="12978" y="2965"/>
                    <a:pt x="12601" y="2448"/>
                    <a:pt x="12601" y="1963"/>
                  </a:cubicBezTo>
                  <a:lnTo>
                    <a:pt x="12601" y="882"/>
                  </a:lnTo>
                  <a:cubicBezTo>
                    <a:pt x="12601" y="397"/>
                    <a:pt x="12204" y="0"/>
                    <a:pt x="11718" y="0"/>
                  </a:cubicBezTo>
                  <a:lnTo>
                    <a:pt x="9882" y="0"/>
                  </a:lnTo>
                  <a:cubicBezTo>
                    <a:pt x="9398" y="0"/>
                    <a:pt x="9001" y="397"/>
                    <a:pt x="9001" y="882"/>
                  </a:cubicBezTo>
                  <a:lnTo>
                    <a:pt x="9001" y="1963"/>
                  </a:lnTo>
                  <a:cubicBezTo>
                    <a:pt x="9001" y="2448"/>
                    <a:pt x="8622" y="2965"/>
                    <a:pt x="8160" y="3114"/>
                  </a:cubicBezTo>
                  <a:lnTo>
                    <a:pt x="7230" y="3495"/>
                  </a:lnTo>
                  <a:cubicBezTo>
                    <a:pt x="6800" y="3718"/>
                    <a:pt x="6167" y="3621"/>
                    <a:pt x="5824" y="3279"/>
                  </a:cubicBezTo>
                  <a:lnTo>
                    <a:pt x="5059" y="2514"/>
                  </a:lnTo>
                  <a:cubicBezTo>
                    <a:pt x="4716" y="2171"/>
                    <a:pt x="4156" y="2171"/>
                    <a:pt x="3812" y="2514"/>
                  </a:cubicBezTo>
                  <a:lnTo>
                    <a:pt x="2514" y="3813"/>
                  </a:lnTo>
                  <a:cubicBezTo>
                    <a:pt x="2170" y="4156"/>
                    <a:pt x="2170" y="4718"/>
                    <a:pt x="2514" y="5060"/>
                  </a:cubicBezTo>
                  <a:lnTo>
                    <a:pt x="3279" y="5825"/>
                  </a:lnTo>
                  <a:cubicBezTo>
                    <a:pt x="3621" y="6167"/>
                    <a:pt x="3719" y="6800"/>
                    <a:pt x="3495" y="7229"/>
                  </a:cubicBezTo>
                  <a:lnTo>
                    <a:pt x="3113" y="8161"/>
                  </a:lnTo>
                  <a:cubicBezTo>
                    <a:pt x="2965" y="8623"/>
                    <a:pt x="2448" y="8999"/>
                    <a:pt x="1963" y="8999"/>
                  </a:cubicBezTo>
                  <a:lnTo>
                    <a:pt x="882" y="8999"/>
                  </a:lnTo>
                  <a:cubicBezTo>
                    <a:pt x="397" y="8999"/>
                    <a:pt x="0" y="9396"/>
                    <a:pt x="0" y="9882"/>
                  </a:cubicBezTo>
                  <a:close/>
                </a:path>
              </a:pathLst>
            </a:custGeom>
            <a:solidFill>
              <a:srgbClr val="0D2B4E">
                <a:lumMod val="50000"/>
                <a:lumOff val="50000"/>
              </a:srgbClr>
            </a:solidFill>
            <a:ln w="12700" cap="flat">
              <a:noFill/>
              <a:miter lim="400000"/>
            </a:ln>
            <a:effectLst/>
          </p:spPr>
          <p:txBody>
            <a:bodyPr wrap="square" lIns="38100" tIns="38100" rIns="38100" bIns="38100" numCol="1" anchor="ctr">
              <a:noAutofit/>
            </a:bodyPr>
            <a:lstStyle/>
            <a:p>
              <a:pPr marL="0" marR="0" lvl="0" indent="0" defTabSz="228554"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Source Sans Pro Light"/>
                <a:ea typeface="Source Sans Pro Light"/>
                <a:cs typeface="Source Sans Pro Light"/>
                <a:sym typeface="Source Sans Pro Light"/>
              </a:endParaRPr>
            </a:p>
          </p:txBody>
        </p:sp>
      </p:grpSp>
      <p:grpSp>
        <p:nvGrpSpPr>
          <p:cNvPr id="16" name="Group 15">
            <a:extLst>
              <a:ext uri="{FF2B5EF4-FFF2-40B4-BE49-F238E27FC236}">
                <a16:creationId xmlns:a16="http://schemas.microsoft.com/office/drawing/2014/main" id="{C870E6AB-AC12-47C5-B2D4-9CA1D8AE5269}"/>
              </a:ext>
            </a:extLst>
          </p:cNvPr>
          <p:cNvGrpSpPr/>
          <p:nvPr/>
        </p:nvGrpSpPr>
        <p:grpSpPr>
          <a:xfrm rot="1052748">
            <a:off x="9585317" y="4224379"/>
            <a:ext cx="1770459" cy="1627048"/>
            <a:chOff x="9532004" y="4972592"/>
            <a:chExt cx="1770459" cy="1627048"/>
          </a:xfrm>
        </p:grpSpPr>
        <p:grpSp>
          <p:nvGrpSpPr>
            <p:cNvPr id="17" name="Group 16">
              <a:extLst>
                <a:ext uri="{FF2B5EF4-FFF2-40B4-BE49-F238E27FC236}">
                  <a16:creationId xmlns:a16="http://schemas.microsoft.com/office/drawing/2014/main" id="{A8F48B5F-2B0E-476D-980B-D1FE9993E54B}"/>
                </a:ext>
              </a:extLst>
            </p:cNvPr>
            <p:cNvGrpSpPr/>
            <p:nvPr/>
          </p:nvGrpSpPr>
          <p:grpSpPr>
            <a:xfrm>
              <a:off x="10050479" y="5439660"/>
              <a:ext cx="861532" cy="635121"/>
              <a:chOff x="10531852" y="4400600"/>
              <a:chExt cx="861532" cy="635121"/>
            </a:xfrm>
          </p:grpSpPr>
          <p:pic>
            <p:nvPicPr>
              <p:cNvPr id="19" name="Picture 18">
                <a:extLst>
                  <a:ext uri="{FF2B5EF4-FFF2-40B4-BE49-F238E27FC236}">
                    <a16:creationId xmlns:a16="http://schemas.microsoft.com/office/drawing/2014/main" id="{6D0C030B-D682-4DC7-9B47-067B66B5B47D}"/>
                  </a:ext>
                </a:extLst>
              </p:cNvPr>
              <p:cNvPicPr>
                <a:picLocks noChangeAspect="1"/>
              </p:cNvPicPr>
              <p:nvPr/>
            </p:nvPicPr>
            <p:blipFill rotWithShape="1">
              <a:blip r:embed="rId5"/>
              <a:srcRect r="37677"/>
              <a:stretch/>
            </p:blipFill>
            <p:spPr>
              <a:xfrm>
                <a:off x="10888195" y="4400600"/>
                <a:ext cx="505189" cy="280878"/>
              </a:xfrm>
              <a:prstGeom prst="rect">
                <a:avLst/>
              </a:prstGeom>
            </p:spPr>
          </p:pic>
          <p:pic>
            <p:nvPicPr>
              <p:cNvPr id="20" name="Picture 19">
                <a:extLst>
                  <a:ext uri="{FF2B5EF4-FFF2-40B4-BE49-F238E27FC236}">
                    <a16:creationId xmlns:a16="http://schemas.microsoft.com/office/drawing/2014/main" id="{2238D636-FD9C-4A50-90C8-00B9DE24FF1F}"/>
                  </a:ext>
                </a:extLst>
              </p:cNvPr>
              <p:cNvPicPr>
                <a:picLocks noChangeAspect="1"/>
              </p:cNvPicPr>
              <p:nvPr/>
            </p:nvPicPr>
            <p:blipFill>
              <a:blip r:embed="rId6"/>
              <a:stretch>
                <a:fillRect/>
              </a:stretch>
            </p:blipFill>
            <p:spPr>
              <a:xfrm>
                <a:off x="10935709" y="4727794"/>
                <a:ext cx="387924" cy="307926"/>
              </a:xfrm>
              <a:prstGeom prst="rect">
                <a:avLst/>
              </a:prstGeom>
            </p:spPr>
          </p:pic>
          <p:pic>
            <p:nvPicPr>
              <p:cNvPr id="21" name="Picture 20">
                <a:extLst>
                  <a:ext uri="{FF2B5EF4-FFF2-40B4-BE49-F238E27FC236}">
                    <a16:creationId xmlns:a16="http://schemas.microsoft.com/office/drawing/2014/main" id="{D6CE6FD2-F2AA-49EB-AC16-BC7AF933BF48}"/>
                  </a:ext>
                </a:extLst>
              </p:cNvPr>
              <p:cNvPicPr>
                <a:picLocks noChangeAspect="1"/>
              </p:cNvPicPr>
              <p:nvPr/>
            </p:nvPicPr>
            <p:blipFill>
              <a:blip r:embed="rId7"/>
              <a:stretch>
                <a:fillRect/>
              </a:stretch>
            </p:blipFill>
            <p:spPr>
              <a:xfrm>
                <a:off x="10570258" y="4744467"/>
                <a:ext cx="365450" cy="291254"/>
              </a:xfrm>
              <a:prstGeom prst="rect">
                <a:avLst/>
              </a:prstGeom>
            </p:spPr>
          </p:pic>
          <p:pic>
            <p:nvPicPr>
              <p:cNvPr id="22" name="Picture 21">
                <a:extLst>
                  <a:ext uri="{FF2B5EF4-FFF2-40B4-BE49-F238E27FC236}">
                    <a16:creationId xmlns:a16="http://schemas.microsoft.com/office/drawing/2014/main" id="{813B5058-C8B4-46A5-A3B9-1FD81DD50DF6}"/>
                  </a:ext>
                </a:extLst>
              </p:cNvPr>
              <p:cNvPicPr>
                <a:picLocks noChangeAspect="1"/>
              </p:cNvPicPr>
              <p:nvPr/>
            </p:nvPicPr>
            <p:blipFill>
              <a:blip r:embed="rId8"/>
              <a:stretch>
                <a:fillRect/>
              </a:stretch>
            </p:blipFill>
            <p:spPr>
              <a:xfrm>
                <a:off x="10531852" y="4400600"/>
                <a:ext cx="390169" cy="358564"/>
              </a:xfrm>
              <a:prstGeom prst="rect">
                <a:avLst/>
              </a:prstGeom>
            </p:spPr>
          </p:pic>
        </p:grpSp>
        <p:sp>
          <p:nvSpPr>
            <p:cNvPr id="18" name="Shape 418">
              <a:extLst>
                <a:ext uri="{FF2B5EF4-FFF2-40B4-BE49-F238E27FC236}">
                  <a16:creationId xmlns:a16="http://schemas.microsoft.com/office/drawing/2014/main" id="{0EFA03F2-BEC2-4281-92C2-6D0025361DF6}"/>
                </a:ext>
              </a:extLst>
            </p:cNvPr>
            <p:cNvSpPr/>
            <p:nvPr/>
          </p:nvSpPr>
          <p:spPr>
            <a:xfrm>
              <a:off x="9532004" y="4972592"/>
              <a:ext cx="1770459" cy="1627048"/>
            </a:xfrm>
            <a:custGeom>
              <a:avLst/>
              <a:gdLst/>
              <a:ahLst/>
              <a:cxnLst>
                <a:cxn ang="0">
                  <a:pos x="wd2" y="hd2"/>
                </a:cxn>
                <a:cxn ang="5400000">
                  <a:pos x="wd2" y="hd2"/>
                </a:cxn>
                <a:cxn ang="10800000">
                  <a:pos x="wd2" y="hd2"/>
                </a:cxn>
                <a:cxn ang="16200000">
                  <a:pos x="wd2" y="hd2"/>
                </a:cxn>
              </a:cxnLst>
              <a:rect l="0" t="0" r="r" b="b"/>
              <a:pathLst>
                <a:path w="21600" h="21600" extrusionOk="0">
                  <a:moveTo>
                    <a:pt x="5499" y="10800"/>
                  </a:moveTo>
                  <a:cubicBezTo>
                    <a:pt x="5499" y="7873"/>
                    <a:pt x="7872" y="5499"/>
                    <a:pt x="10800" y="5499"/>
                  </a:cubicBezTo>
                  <a:cubicBezTo>
                    <a:pt x="13728" y="5499"/>
                    <a:pt x="16100" y="7873"/>
                    <a:pt x="16100" y="10800"/>
                  </a:cubicBezTo>
                  <a:cubicBezTo>
                    <a:pt x="16100" y="13728"/>
                    <a:pt x="13728" y="16102"/>
                    <a:pt x="10800" y="16102"/>
                  </a:cubicBezTo>
                  <a:cubicBezTo>
                    <a:pt x="7872" y="16102"/>
                    <a:pt x="5499" y="13728"/>
                    <a:pt x="5499" y="10800"/>
                  </a:cubicBezTo>
                  <a:close/>
                  <a:moveTo>
                    <a:pt x="0" y="9882"/>
                  </a:moveTo>
                  <a:lnTo>
                    <a:pt x="0" y="11719"/>
                  </a:lnTo>
                  <a:cubicBezTo>
                    <a:pt x="0" y="12204"/>
                    <a:pt x="397" y="12601"/>
                    <a:pt x="881" y="12601"/>
                  </a:cubicBezTo>
                  <a:lnTo>
                    <a:pt x="1963" y="12601"/>
                  </a:lnTo>
                  <a:cubicBezTo>
                    <a:pt x="2448" y="12601"/>
                    <a:pt x="2966" y="12979"/>
                    <a:pt x="3113" y="13440"/>
                  </a:cubicBezTo>
                  <a:lnTo>
                    <a:pt x="3495" y="14370"/>
                  </a:lnTo>
                  <a:cubicBezTo>
                    <a:pt x="3719" y="14800"/>
                    <a:pt x="3622" y="15433"/>
                    <a:pt x="3279" y="15776"/>
                  </a:cubicBezTo>
                  <a:lnTo>
                    <a:pt x="2514" y="16541"/>
                  </a:lnTo>
                  <a:cubicBezTo>
                    <a:pt x="2171" y="16883"/>
                    <a:pt x="2171" y="17445"/>
                    <a:pt x="2514" y="17788"/>
                  </a:cubicBezTo>
                  <a:lnTo>
                    <a:pt x="3813" y="19087"/>
                  </a:lnTo>
                  <a:cubicBezTo>
                    <a:pt x="4155" y="19429"/>
                    <a:pt x="4717" y="19429"/>
                    <a:pt x="5060" y="19087"/>
                  </a:cubicBezTo>
                  <a:lnTo>
                    <a:pt x="5825" y="18321"/>
                  </a:lnTo>
                  <a:cubicBezTo>
                    <a:pt x="6167" y="17979"/>
                    <a:pt x="6800" y="17881"/>
                    <a:pt x="7230" y="18105"/>
                  </a:cubicBezTo>
                  <a:lnTo>
                    <a:pt x="8160" y="18487"/>
                  </a:lnTo>
                  <a:cubicBezTo>
                    <a:pt x="8622" y="18635"/>
                    <a:pt x="9000" y="19153"/>
                    <a:pt x="9000" y="19638"/>
                  </a:cubicBezTo>
                  <a:lnTo>
                    <a:pt x="9000" y="20720"/>
                  </a:lnTo>
                  <a:cubicBezTo>
                    <a:pt x="9000" y="21204"/>
                    <a:pt x="9397" y="21600"/>
                    <a:pt x="9881" y="21600"/>
                  </a:cubicBezTo>
                  <a:lnTo>
                    <a:pt x="11719" y="21600"/>
                  </a:lnTo>
                  <a:cubicBezTo>
                    <a:pt x="12203" y="21600"/>
                    <a:pt x="12600" y="21204"/>
                    <a:pt x="12600" y="20720"/>
                  </a:cubicBezTo>
                  <a:lnTo>
                    <a:pt x="12600" y="19638"/>
                  </a:lnTo>
                  <a:cubicBezTo>
                    <a:pt x="12600" y="19153"/>
                    <a:pt x="12978" y="18635"/>
                    <a:pt x="13439" y="18487"/>
                  </a:cubicBezTo>
                  <a:lnTo>
                    <a:pt x="14370" y="18105"/>
                  </a:lnTo>
                  <a:cubicBezTo>
                    <a:pt x="14801" y="17881"/>
                    <a:pt x="15432" y="17979"/>
                    <a:pt x="15775" y="18321"/>
                  </a:cubicBezTo>
                  <a:lnTo>
                    <a:pt x="16540" y="19087"/>
                  </a:lnTo>
                  <a:cubicBezTo>
                    <a:pt x="16883" y="19429"/>
                    <a:pt x="17444" y="19429"/>
                    <a:pt x="17787" y="19087"/>
                  </a:cubicBezTo>
                  <a:lnTo>
                    <a:pt x="19086" y="17788"/>
                  </a:lnTo>
                  <a:cubicBezTo>
                    <a:pt x="19429" y="17445"/>
                    <a:pt x="19429" y="16883"/>
                    <a:pt x="19086" y="16541"/>
                  </a:cubicBezTo>
                  <a:lnTo>
                    <a:pt x="18321" y="15776"/>
                  </a:lnTo>
                  <a:cubicBezTo>
                    <a:pt x="17978" y="15433"/>
                    <a:pt x="17880" y="14800"/>
                    <a:pt x="18104" y="14370"/>
                  </a:cubicBezTo>
                  <a:lnTo>
                    <a:pt x="18487" y="13440"/>
                  </a:lnTo>
                  <a:cubicBezTo>
                    <a:pt x="18634" y="12979"/>
                    <a:pt x="19152" y="12601"/>
                    <a:pt x="19637" y="12601"/>
                  </a:cubicBezTo>
                  <a:lnTo>
                    <a:pt x="20718" y="12601"/>
                  </a:lnTo>
                  <a:cubicBezTo>
                    <a:pt x="21203" y="12601"/>
                    <a:pt x="21600" y="12204"/>
                    <a:pt x="21600" y="11719"/>
                  </a:cubicBezTo>
                  <a:lnTo>
                    <a:pt x="21600" y="9882"/>
                  </a:lnTo>
                  <a:cubicBezTo>
                    <a:pt x="21600" y="9397"/>
                    <a:pt x="21203" y="9000"/>
                    <a:pt x="20718" y="9000"/>
                  </a:cubicBezTo>
                  <a:lnTo>
                    <a:pt x="19637" y="9000"/>
                  </a:lnTo>
                  <a:cubicBezTo>
                    <a:pt x="19152" y="9000"/>
                    <a:pt x="18634" y="8622"/>
                    <a:pt x="18487" y="8160"/>
                  </a:cubicBezTo>
                  <a:lnTo>
                    <a:pt x="18104" y="7230"/>
                  </a:lnTo>
                  <a:cubicBezTo>
                    <a:pt x="17880" y="6800"/>
                    <a:pt x="17978" y="6168"/>
                    <a:pt x="18321" y="5824"/>
                  </a:cubicBezTo>
                  <a:lnTo>
                    <a:pt x="19086" y="5060"/>
                  </a:lnTo>
                  <a:cubicBezTo>
                    <a:pt x="19429" y="4717"/>
                    <a:pt x="19429" y="4156"/>
                    <a:pt x="19086" y="3813"/>
                  </a:cubicBezTo>
                  <a:lnTo>
                    <a:pt x="17787" y="2514"/>
                  </a:lnTo>
                  <a:cubicBezTo>
                    <a:pt x="17444" y="2171"/>
                    <a:pt x="16883" y="2171"/>
                    <a:pt x="16540" y="2514"/>
                  </a:cubicBezTo>
                  <a:lnTo>
                    <a:pt x="15775" y="3279"/>
                  </a:lnTo>
                  <a:cubicBezTo>
                    <a:pt x="15432" y="3622"/>
                    <a:pt x="14801" y="3719"/>
                    <a:pt x="14370" y="3495"/>
                  </a:cubicBezTo>
                  <a:lnTo>
                    <a:pt x="13439" y="3113"/>
                  </a:lnTo>
                  <a:cubicBezTo>
                    <a:pt x="12978" y="2966"/>
                    <a:pt x="12600" y="2448"/>
                    <a:pt x="12600" y="1963"/>
                  </a:cubicBezTo>
                  <a:lnTo>
                    <a:pt x="12600" y="882"/>
                  </a:lnTo>
                  <a:cubicBezTo>
                    <a:pt x="12600" y="397"/>
                    <a:pt x="12203" y="0"/>
                    <a:pt x="11719" y="0"/>
                  </a:cubicBezTo>
                  <a:lnTo>
                    <a:pt x="9881" y="0"/>
                  </a:lnTo>
                  <a:cubicBezTo>
                    <a:pt x="9397" y="0"/>
                    <a:pt x="9000" y="397"/>
                    <a:pt x="9000" y="882"/>
                  </a:cubicBezTo>
                  <a:lnTo>
                    <a:pt x="9000" y="1963"/>
                  </a:lnTo>
                  <a:cubicBezTo>
                    <a:pt x="9000" y="2448"/>
                    <a:pt x="8622" y="2966"/>
                    <a:pt x="8160" y="3113"/>
                  </a:cubicBezTo>
                  <a:lnTo>
                    <a:pt x="7230" y="3495"/>
                  </a:lnTo>
                  <a:cubicBezTo>
                    <a:pt x="6800" y="3719"/>
                    <a:pt x="6167" y="3622"/>
                    <a:pt x="5825" y="3279"/>
                  </a:cubicBezTo>
                  <a:lnTo>
                    <a:pt x="5060" y="2514"/>
                  </a:lnTo>
                  <a:cubicBezTo>
                    <a:pt x="4717" y="2171"/>
                    <a:pt x="4155" y="2171"/>
                    <a:pt x="3813" y="2514"/>
                  </a:cubicBezTo>
                  <a:lnTo>
                    <a:pt x="2514" y="3813"/>
                  </a:lnTo>
                  <a:cubicBezTo>
                    <a:pt x="2171" y="4156"/>
                    <a:pt x="2171" y="4717"/>
                    <a:pt x="2514" y="5060"/>
                  </a:cubicBezTo>
                  <a:lnTo>
                    <a:pt x="3279" y="5824"/>
                  </a:lnTo>
                  <a:cubicBezTo>
                    <a:pt x="3622" y="6168"/>
                    <a:pt x="3719" y="6800"/>
                    <a:pt x="3495" y="7230"/>
                  </a:cubicBezTo>
                  <a:lnTo>
                    <a:pt x="3113" y="8160"/>
                  </a:lnTo>
                  <a:cubicBezTo>
                    <a:pt x="2966" y="8622"/>
                    <a:pt x="2448" y="9000"/>
                    <a:pt x="1963" y="9000"/>
                  </a:cubicBezTo>
                  <a:lnTo>
                    <a:pt x="881" y="9000"/>
                  </a:lnTo>
                  <a:cubicBezTo>
                    <a:pt x="397" y="9000"/>
                    <a:pt x="0" y="9397"/>
                    <a:pt x="0" y="9882"/>
                  </a:cubicBezTo>
                  <a:close/>
                </a:path>
              </a:pathLst>
            </a:custGeom>
            <a:solidFill>
              <a:srgbClr val="FDB813"/>
            </a:solidFill>
            <a:ln w="12700" cap="flat">
              <a:noFill/>
              <a:miter lim="400000"/>
            </a:ln>
            <a:effectLst/>
          </p:spPr>
          <p:txBody>
            <a:bodyPr wrap="square" lIns="38100" tIns="38100" rIns="38100" bIns="38100" numCol="1" anchor="ctr">
              <a:noAutofit/>
            </a:bodyPr>
            <a:lstStyle/>
            <a:p>
              <a:pPr marL="0" marR="0" lvl="0" indent="0" defTabSz="228554"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latin typeface="Source Sans Pro Light"/>
                  <a:ea typeface="Source Sans Pro Light"/>
                  <a:cs typeface="Source Sans Pro Light"/>
                  <a:sym typeface="Source Sans Pro Light"/>
                </a:defRPr>
              </a:pPr>
              <a:endParaRPr kumimoji="0" sz="300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Source Sans Pro Light"/>
                <a:ea typeface="Source Sans Pro Light"/>
                <a:cs typeface="Source Sans Pro Light"/>
                <a:sym typeface="Source Sans Pro Light"/>
              </a:endParaRPr>
            </a:p>
          </p:txBody>
        </p:sp>
      </p:grpSp>
      <p:pic>
        <p:nvPicPr>
          <p:cNvPr id="23" name="Picture 22">
            <a:extLst>
              <a:ext uri="{FF2B5EF4-FFF2-40B4-BE49-F238E27FC236}">
                <a16:creationId xmlns:a16="http://schemas.microsoft.com/office/drawing/2014/main" id="{7F031540-75F1-400A-B8C1-3F58FAD5AA45}"/>
              </a:ext>
            </a:extLst>
          </p:cNvPr>
          <p:cNvPicPr>
            <a:picLocks noChangeAspect="1"/>
          </p:cNvPicPr>
          <p:nvPr/>
        </p:nvPicPr>
        <p:blipFill>
          <a:blip r:embed="rId9"/>
          <a:stretch>
            <a:fillRect/>
          </a:stretch>
        </p:blipFill>
        <p:spPr>
          <a:xfrm>
            <a:off x="8156885" y="104473"/>
            <a:ext cx="3968840" cy="896190"/>
          </a:xfrm>
          <a:prstGeom prst="rect">
            <a:avLst/>
          </a:prstGeom>
        </p:spPr>
      </p:pic>
      <p:sp>
        <p:nvSpPr>
          <p:cNvPr id="4" name="Slide Number Placeholder 3">
            <a:extLst>
              <a:ext uri="{FF2B5EF4-FFF2-40B4-BE49-F238E27FC236}">
                <a16:creationId xmlns:a16="http://schemas.microsoft.com/office/drawing/2014/main" id="{B354A849-01B6-4A17-BCE1-EC7B7944F0F8}"/>
              </a:ext>
            </a:extLst>
          </p:cNvPr>
          <p:cNvSpPr>
            <a:spLocks noGrp="1"/>
          </p:cNvSpPr>
          <p:nvPr>
            <p:ph type="sldNum" sz="quarter" idx="12"/>
          </p:nvPr>
        </p:nvSpPr>
        <p:spPr>
          <a:xfrm>
            <a:off x="7962900" y="5654538"/>
            <a:ext cx="2743200" cy="365125"/>
          </a:xfrm>
        </p:spPr>
        <p:txBody>
          <a:bodyPr/>
          <a:lstStyle/>
          <a:p>
            <a:fld id="{EBCD09FE-7CD6-CE43-8172-0ED2CBC875B6}" type="slidenum">
              <a:rPr lang="en-US" smtClean="0"/>
              <a:t>7</a:t>
            </a:fld>
            <a:endParaRPr lang="en-US"/>
          </a:p>
        </p:txBody>
      </p:sp>
    </p:spTree>
    <p:extLst>
      <p:ext uri="{BB962C8B-B14F-4D97-AF65-F5344CB8AC3E}">
        <p14:creationId xmlns:p14="http://schemas.microsoft.com/office/powerpoint/2010/main" val="16461231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465A398-9F3B-41C3-BCD6-D4EE9EAEBBB1}"/>
              </a:ext>
            </a:extLst>
          </p:cNvPr>
          <p:cNvSpPr>
            <a:spLocks noGrp="1"/>
          </p:cNvSpPr>
          <p:nvPr>
            <p:ph type="title"/>
          </p:nvPr>
        </p:nvSpPr>
        <p:spPr/>
        <p:txBody>
          <a:bodyPr/>
          <a:lstStyle/>
          <a:p>
            <a:r>
              <a:rPr lang="nb-NO" sz="2800" b="1" dirty="0">
                <a:solidFill>
                  <a:schemeClr val="accent1">
                    <a:lumMod val="75000"/>
                  </a:schemeClr>
                </a:solidFill>
              </a:rPr>
              <a:t>Schedule</a:t>
            </a:r>
            <a:r>
              <a:rPr lang="nb-NO" dirty="0"/>
              <a:t> </a:t>
            </a:r>
          </a:p>
        </p:txBody>
      </p:sp>
      <p:pic>
        <p:nvPicPr>
          <p:cNvPr id="4" name="Bilde 3">
            <a:extLst>
              <a:ext uri="{FF2B5EF4-FFF2-40B4-BE49-F238E27FC236}">
                <a16:creationId xmlns:a16="http://schemas.microsoft.com/office/drawing/2014/main" id="{7C10E122-9F12-4923-9433-9A4C17BD38AE}"/>
              </a:ext>
            </a:extLst>
          </p:cNvPr>
          <p:cNvPicPr>
            <a:picLocks noChangeAspect="1"/>
          </p:cNvPicPr>
          <p:nvPr/>
        </p:nvPicPr>
        <p:blipFill>
          <a:blip r:embed="rId2"/>
          <a:stretch>
            <a:fillRect/>
          </a:stretch>
        </p:blipFill>
        <p:spPr>
          <a:xfrm>
            <a:off x="7740316" y="138781"/>
            <a:ext cx="4267202" cy="1008230"/>
          </a:xfrm>
          <a:prstGeom prst="rect">
            <a:avLst/>
          </a:prstGeom>
        </p:spPr>
      </p:pic>
      <p:graphicFrame>
        <p:nvGraphicFramePr>
          <p:cNvPr id="5" name="Tabell 4">
            <a:extLst>
              <a:ext uri="{FF2B5EF4-FFF2-40B4-BE49-F238E27FC236}">
                <a16:creationId xmlns:a16="http://schemas.microsoft.com/office/drawing/2014/main" id="{4FB2A547-49DC-4D75-A2D8-AC65F8233618}"/>
              </a:ext>
            </a:extLst>
          </p:cNvPr>
          <p:cNvGraphicFramePr>
            <a:graphicFrameLocks noGrp="1"/>
          </p:cNvGraphicFramePr>
          <p:nvPr>
            <p:extLst>
              <p:ext uri="{D42A27DB-BD31-4B8C-83A1-F6EECF244321}">
                <p14:modId xmlns:p14="http://schemas.microsoft.com/office/powerpoint/2010/main" val="3159723980"/>
              </p:ext>
            </p:extLst>
          </p:nvPr>
        </p:nvGraphicFramePr>
        <p:xfrm>
          <a:off x="838200" y="1612231"/>
          <a:ext cx="10303042" cy="4725149"/>
        </p:xfrm>
        <a:graphic>
          <a:graphicData uri="http://schemas.openxmlformats.org/drawingml/2006/table">
            <a:tbl>
              <a:tblPr/>
              <a:tblGrid>
                <a:gridCol w="8066136">
                  <a:extLst>
                    <a:ext uri="{9D8B030D-6E8A-4147-A177-3AD203B41FA5}">
                      <a16:colId xmlns:a16="http://schemas.microsoft.com/office/drawing/2014/main" val="1383216891"/>
                    </a:ext>
                  </a:extLst>
                </a:gridCol>
                <a:gridCol w="720359">
                  <a:extLst>
                    <a:ext uri="{9D8B030D-6E8A-4147-A177-3AD203B41FA5}">
                      <a16:colId xmlns:a16="http://schemas.microsoft.com/office/drawing/2014/main" val="1043555608"/>
                    </a:ext>
                  </a:extLst>
                </a:gridCol>
                <a:gridCol w="748795">
                  <a:extLst>
                    <a:ext uri="{9D8B030D-6E8A-4147-A177-3AD203B41FA5}">
                      <a16:colId xmlns:a16="http://schemas.microsoft.com/office/drawing/2014/main" val="2927069373"/>
                    </a:ext>
                  </a:extLst>
                </a:gridCol>
                <a:gridCol w="767752">
                  <a:extLst>
                    <a:ext uri="{9D8B030D-6E8A-4147-A177-3AD203B41FA5}">
                      <a16:colId xmlns:a16="http://schemas.microsoft.com/office/drawing/2014/main" val="574807753"/>
                    </a:ext>
                  </a:extLst>
                </a:gridCol>
              </a:tblGrid>
              <a:tr h="558717">
                <a:tc>
                  <a:txBody>
                    <a:bodyPr/>
                    <a:lstStyle/>
                    <a:p>
                      <a:pPr algn="l" fontAlgn="base"/>
                      <a:r>
                        <a:rPr lang="en-US" sz="1700" b="1" i="0">
                          <a:solidFill>
                            <a:srgbClr val="FFFFFF"/>
                          </a:solidFill>
                          <a:effectLst/>
                          <a:latin typeface="Calibri" panose="020F0502020204030204" pitchFamily="34" charset="0"/>
                        </a:rPr>
                        <a:t>Activities ​</a:t>
                      </a:r>
                      <a:endParaRPr lang="en-US" sz="1500" b="1" i="0">
                        <a:solidFill>
                          <a:srgbClr val="FFFFFF"/>
                        </a:solidFill>
                        <a:effectLst/>
                      </a:endParaRP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46673" cap="flat" cmpd="sng" algn="ctr">
                      <a:solidFill>
                        <a:srgbClr val="FFFFFF"/>
                      </a:solidFill>
                      <a:prstDash val="solid"/>
                      <a:round/>
                      <a:headEnd type="none" w="med" len="med"/>
                      <a:tailEnd type="none" w="med" len="med"/>
                    </a:lnB>
                    <a:solidFill>
                      <a:schemeClr val="accent1">
                        <a:lumMod val="75000"/>
                      </a:schemeClr>
                    </a:solidFill>
                  </a:tcPr>
                </a:tc>
                <a:tc>
                  <a:txBody>
                    <a:bodyPr/>
                    <a:lstStyle/>
                    <a:p>
                      <a:pPr algn="ctr" fontAlgn="base"/>
                      <a:r>
                        <a:rPr lang="en-US" sz="1700" b="1" i="0">
                          <a:solidFill>
                            <a:srgbClr val="FFFFFF"/>
                          </a:solidFill>
                          <a:effectLst/>
                          <a:latin typeface="Calibri" panose="020F0502020204030204" pitchFamily="34" charset="0"/>
                        </a:rPr>
                        <a:t>2021​</a:t>
                      </a:r>
                      <a:endParaRPr lang="en-US" sz="1500" b="1" i="0">
                        <a:solidFill>
                          <a:srgbClr val="FFFFFF"/>
                        </a:solidFill>
                        <a:effectLst/>
                      </a:endParaRP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46673" cap="flat" cmpd="sng" algn="ctr">
                      <a:solidFill>
                        <a:srgbClr val="FFFFFF"/>
                      </a:solidFill>
                      <a:prstDash val="solid"/>
                      <a:round/>
                      <a:headEnd type="none" w="med" len="med"/>
                      <a:tailEnd type="none" w="med" len="med"/>
                    </a:lnB>
                    <a:solidFill>
                      <a:schemeClr val="accent1">
                        <a:lumMod val="75000"/>
                      </a:schemeClr>
                    </a:solidFill>
                  </a:tcPr>
                </a:tc>
                <a:tc>
                  <a:txBody>
                    <a:bodyPr/>
                    <a:lstStyle/>
                    <a:p>
                      <a:pPr algn="ctr" fontAlgn="base"/>
                      <a:r>
                        <a:rPr lang="en-US" sz="1700" b="1" i="0">
                          <a:solidFill>
                            <a:srgbClr val="FFFFFF"/>
                          </a:solidFill>
                          <a:effectLst/>
                          <a:latin typeface="Calibri" panose="020F0502020204030204" pitchFamily="34" charset="0"/>
                        </a:rPr>
                        <a:t>2022​</a:t>
                      </a:r>
                      <a:endParaRPr lang="en-US" sz="1500" b="1" i="0">
                        <a:solidFill>
                          <a:srgbClr val="FFFFFF"/>
                        </a:solidFill>
                        <a:effectLst/>
                      </a:endParaRP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46673" cap="flat" cmpd="sng" algn="ctr">
                      <a:solidFill>
                        <a:srgbClr val="FFFFFF"/>
                      </a:solidFill>
                      <a:prstDash val="solid"/>
                      <a:round/>
                      <a:headEnd type="none" w="med" len="med"/>
                      <a:tailEnd type="none" w="med" len="med"/>
                    </a:lnB>
                    <a:solidFill>
                      <a:schemeClr val="accent1">
                        <a:lumMod val="75000"/>
                      </a:schemeClr>
                    </a:solidFill>
                  </a:tcPr>
                </a:tc>
                <a:tc>
                  <a:txBody>
                    <a:bodyPr/>
                    <a:lstStyle/>
                    <a:p>
                      <a:pPr algn="ctr" fontAlgn="base"/>
                      <a:r>
                        <a:rPr lang="en-US" sz="1700" b="1" i="0">
                          <a:solidFill>
                            <a:srgbClr val="FFFFFF"/>
                          </a:solidFill>
                          <a:effectLst/>
                          <a:latin typeface="Calibri" panose="020F0502020204030204" pitchFamily="34" charset="0"/>
                        </a:rPr>
                        <a:t>2023​</a:t>
                      </a:r>
                      <a:endParaRPr lang="en-US" sz="1500" b="1" i="0">
                        <a:solidFill>
                          <a:srgbClr val="FFFFFF"/>
                        </a:solidFill>
                        <a:effectLst/>
                      </a:endParaRP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46673" cap="flat" cmpd="sng" algn="ctr">
                      <a:solidFill>
                        <a:srgbClr val="FFFFFF"/>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3061188520"/>
                  </a:ext>
                </a:extLst>
              </a:tr>
              <a:tr h="611928">
                <a:tc>
                  <a:txBody>
                    <a:bodyPr/>
                    <a:lstStyle/>
                    <a:p>
                      <a:pPr algn="l" fontAlgn="base"/>
                      <a:r>
                        <a:rPr lang="en-US" sz="1500" b="0" i="0">
                          <a:solidFill>
                            <a:srgbClr val="000000"/>
                          </a:solidFill>
                          <a:effectLst/>
                          <a:latin typeface="Calibri" panose="020F0502020204030204" pitchFamily="34" charset="0"/>
                        </a:rPr>
                        <a:t>Prepare briefing pack (IRF)*​</a:t>
                      </a:r>
                      <a:endParaRPr lang="en-US" sz="1500" b="0" i="0">
                        <a:solidFill>
                          <a:srgbClr val="000000"/>
                        </a:solidFill>
                        <a:effectLst/>
                      </a:endParaRPr>
                    </a:p>
                    <a:p>
                      <a:pPr algn="l" fontAlgn="base"/>
                      <a:r>
                        <a:rPr lang="en-US" sz="1500" b="0" i="0">
                          <a:solidFill>
                            <a:srgbClr val="000000"/>
                          </a:solidFill>
                          <a:effectLst/>
                          <a:latin typeface="Calibri" panose="020F0502020204030204" pitchFamily="34" charset="0"/>
                        </a:rPr>
                        <a:t>Present PS in IRF Mid-year meeting (11.05.21)​</a:t>
                      </a:r>
                      <a:endParaRPr lang="en-US" sz="1500" b="0" i="0">
                        <a:solidFill>
                          <a:srgbClr val="000000"/>
                        </a:solidFill>
                        <a:effectLst/>
                      </a:endParaRP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46673"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CCD5DB"/>
                    </a:solidFill>
                  </a:tcPr>
                </a:tc>
                <a:tc>
                  <a:txBody>
                    <a:bodyPr/>
                    <a:lstStyle/>
                    <a:p>
                      <a:pPr algn="ctr" fontAlgn="auto"/>
                      <a:r>
                        <a:rPr lang="en-US" sz="700" b="0" i="0">
                          <a:solidFill>
                            <a:srgbClr val="7F7F7F"/>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46673"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A2CAA0"/>
                    </a:solidFill>
                  </a:tcPr>
                </a:tc>
                <a:tc>
                  <a:txBody>
                    <a:bodyPr/>
                    <a:lstStyle/>
                    <a:p>
                      <a:pPr algn="ctr" fontAlgn="auto"/>
                      <a:r>
                        <a:rPr lang="en-US" sz="1200" b="1" i="0">
                          <a:solidFill>
                            <a:srgbClr val="000000"/>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46673"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CCD5DB"/>
                    </a:solidFill>
                  </a:tcPr>
                </a:tc>
                <a:tc>
                  <a:txBody>
                    <a:bodyPr/>
                    <a:lstStyle/>
                    <a:p>
                      <a:pPr algn="ctr" fontAlgn="auto"/>
                      <a:r>
                        <a:rPr lang="en-US" sz="1200" b="1" i="0">
                          <a:solidFill>
                            <a:srgbClr val="000000"/>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46673"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CCD5DB"/>
                    </a:solidFill>
                  </a:tcPr>
                </a:tc>
                <a:extLst>
                  <a:ext uri="{0D108BD9-81ED-4DB2-BD59-A6C34878D82A}">
                    <a16:rowId xmlns:a16="http://schemas.microsoft.com/office/drawing/2014/main" val="571472234"/>
                  </a:ext>
                </a:extLst>
              </a:tr>
              <a:tr h="611928">
                <a:tc>
                  <a:txBody>
                    <a:bodyPr/>
                    <a:lstStyle/>
                    <a:p>
                      <a:pPr algn="l" fontAlgn="base"/>
                      <a:r>
                        <a:rPr lang="en-US" sz="1500" b="0" i="0">
                          <a:solidFill>
                            <a:srgbClr val="000000"/>
                          </a:solidFill>
                          <a:effectLst/>
                          <a:latin typeface="Calibri" panose="020F0502020204030204" pitchFamily="34" charset="0"/>
                        </a:rPr>
                        <a:t>Establish extended IRF work group ​</a:t>
                      </a:r>
                      <a:endParaRPr lang="en-US" sz="1500" b="0" i="0">
                        <a:solidFill>
                          <a:srgbClr val="000000"/>
                        </a:solidFill>
                        <a:effectLst/>
                      </a:endParaRP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E7EBEE"/>
                    </a:solidFill>
                  </a:tcPr>
                </a:tc>
                <a:tc>
                  <a:txBody>
                    <a:bodyPr/>
                    <a:lstStyle/>
                    <a:p>
                      <a:pPr algn="ctr" fontAlgn="auto"/>
                      <a:r>
                        <a:rPr lang="en-US" sz="700" b="0" i="0">
                          <a:solidFill>
                            <a:srgbClr val="7F7F7F"/>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A2CAA0"/>
                    </a:solidFill>
                  </a:tcPr>
                </a:tc>
                <a:tc>
                  <a:txBody>
                    <a:bodyPr/>
                    <a:lstStyle/>
                    <a:p>
                      <a:pPr algn="ctr" fontAlgn="auto"/>
                      <a:r>
                        <a:rPr lang="en-US" sz="1200" b="0" i="0">
                          <a:solidFill>
                            <a:srgbClr val="000000"/>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E7EBEE"/>
                    </a:solidFill>
                  </a:tcPr>
                </a:tc>
                <a:tc>
                  <a:txBody>
                    <a:bodyPr/>
                    <a:lstStyle/>
                    <a:p>
                      <a:pPr algn="ctr" fontAlgn="auto"/>
                      <a:r>
                        <a:rPr lang="en-US" sz="1200" b="0" i="0">
                          <a:solidFill>
                            <a:srgbClr val="000000"/>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E7EBEE"/>
                    </a:solidFill>
                  </a:tcPr>
                </a:tc>
                <a:extLst>
                  <a:ext uri="{0D108BD9-81ED-4DB2-BD59-A6C34878D82A}">
                    <a16:rowId xmlns:a16="http://schemas.microsoft.com/office/drawing/2014/main" val="1276338178"/>
                  </a:ext>
                </a:extLst>
              </a:tr>
              <a:tr h="611928">
                <a:tc>
                  <a:txBody>
                    <a:bodyPr/>
                    <a:lstStyle/>
                    <a:p>
                      <a:pPr algn="l" fontAlgn="base"/>
                      <a:r>
                        <a:rPr lang="en-US" sz="1500" b="0" i="0">
                          <a:solidFill>
                            <a:srgbClr val="000000"/>
                          </a:solidFill>
                          <a:effectLst/>
                          <a:latin typeface="Calibri" panose="020F0502020204030204" pitchFamily="34" charset="0"/>
                        </a:rPr>
                        <a:t>Regular IRF/IADC/IOGP meetings​</a:t>
                      </a:r>
                      <a:endParaRPr lang="en-US" sz="1500" b="0" i="0">
                        <a:solidFill>
                          <a:srgbClr val="000000"/>
                        </a:solidFill>
                        <a:effectLst/>
                      </a:endParaRP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CCD5DB"/>
                    </a:solidFill>
                  </a:tcPr>
                </a:tc>
                <a:tc>
                  <a:txBody>
                    <a:bodyPr/>
                    <a:lstStyle/>
                    <a:p>
                      <a:pPr algn="ctr" fontAlgn="auto"/>
                      <a:r>
                        <a:rPr lang="en-US" sz="700" b="0" i="0">
                          <a:solidFill>
                            <a:srgbClr val="7F7F7F"/>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A2CAA0"/>
                    </a:solidFill>
                  </a:tcPr>
                </a:tc>
                <a:tc>
                  <a:txBody>
                    <a:bodyPr/>
                    <a:lstStyle/>
                    <a:p>
                      <a:pPr algn="ctr" fontAlgn="auto"/>
                      <a:r>
                        <a:rPr lang="en-US" sz="1200" b="0" i="0">
                          <a:solidFill>
                            <a:srgbClr val="000000"/>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A2CAA0"/>
                    </a:solidFill>
                  </a:tcPr>
                </a:tc>
                <a:tc>
                  <a:txBody>
                    <a:bodyPr/>
                    <a:lstStyle/>
                    <a:p>
                      <a:pPr algn="ctr" fontAlgn="auto"/>
                      <a:r>
                        <a:rPr lang="en-US" sz="1200" b="0" i="0">
                          <a:solidFill>
                            <a:srgbClr val="000000"/>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A2CAA0"/>
                    </a:solidFill>
                  </a:tcPr>
                </a:tc>
                <a:extLst>
                  <a:ext uri="{0D108BD9-81ED-4DB2-BD59-A6C34878D82A}">
                    <a16:rowId xmlns:a16="http://schemas.microsoft.com/office/drawing/2014/main" val="1050233072"/>
                  </a:ext>
                </a:extLst>
              </a:tr>
              <a:tr h="611928">
                <a:tc>
                  <a:txBody>
                    <a:bodyPr/>
                    <a:lstStyle/>
                    <a:p>
                      <a:pPr algn="l" fontAlgn="base"/>
                      <a:r>
                        <a:rPr lang="en-US" sz="1500" b="0" i="0">
                          <a:solidFill>
                            <a:srgbClr val="000000"/>
                          </a:solidFill>
                          <a:effectLst/>
                          <a:latin typeface="Calibri" panose="020F0502020204030204" pitchFamily="34" charset="0"/>
                        </a:rPr>
                        <a:t>Establish joint IRF/IADC/IOGP comms/outreach​</a:t>
                      </a:r>
                      <a:endParaRPr lang="en-US" sz="1500" b="0" i="0">
                        <a:solidFill>
                          <a:srgbClr val="000000"/>
                        </a:solidFill>
                        <a:effectLst/>
                      </a:endParaRP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E7EBEE"/>
                    </a:solidFill>
                  </a:tcPr>
                </a:tc>
                <a:tc>
                  <a:txBody>
                    <a:bodyPr/>
                    <a:lstStyle/>
                    <a:p>
                      <a:pPr algn="ctr" fontAlgn="auto"/>
                      <a:r>
                        <a:rPr lang="en-US" sz="700" b="0" i="0">
                          <a:solidFill>
                            <a:srgbClr val="7F7F7F"/>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A2CAA0"/>
                    </a:solidFill>
                  </a:tcPr>
                </a:tc>
                <a:tc>
                  <a:txBody>
                    <a:bodyPr/>
                    <a:lstStyle/>
                    <a:p>
                      <a:pPr algn="ctr" fontAlgn="auto"/>
                      <a:r>
                        <a:rPr lang="en-US" sz="1200" b="0" i="0">
                          <a:solidFill>
                            <a:srgbClr val="000000"/>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E7EBEE"/>
                    </a:solidFill>
                  </a:tcPr>
                </a:tc>
                <a:tc>
                  <a:txBody>
                    <a:bodyPr/>
                    <a:lstStyle/>
                    <a:p>
                      <a:pPr algn="ctr" fontAlgn="auto"/>
                      <a:r>
                        <a:rPr lang="en-US" sz="1200" b="0" i="0">
                          <a:solidFill>
                            <a:srgbClr val="000000"/>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E7EBEE"/>
                    </a:solidFill>
                  </a:tcPr>
                </a:tc>
                <a:extLst>
                  <a:ext uri="{0D108BD9-81ED-4DB2-BD59-A6C34878D82A}">
                    <a16:rowId xmlns:a16="http://schemas.microsoft.com/office/drawing/2014/main" val="2955499981"/>
                  </a:ext>
                </a:extLst>
              </a:tr>
              <a:tr h="1106792">
                <a:tc>
                  <a:txBody>
                    <a:bodyPr/>
                    <a:lstStyle/>
                    <a:p>
                      <a:pPr algn="l" fontAlgn="base"/>
                      <a:r>
                        <a:rPr lang="en-US" sz="1500" b="0" i="0" dirty="0">
                          <a:solidFill>
                            <a:srgbClr val="000000"/>
                          </a:solidFill>
                          <a:effectLst/>
                          <a:latin typeface="Calibri" panose="020F0502020204030204" pitchFamily="34" charset="0"/>
                        </a:rPr>
                        <a:t>Decision if any further concrete deliverables are needed and next steps. ​</a:t>
                      </a:r>
                      <a:endParaRPr lang="en-US" sz="1500" b="0" i="0" dirty="0">
                        <a:solidFill>
                          <a:srgbClr val="000000"/>
                        </a:solidFill>
                        <a:effectLst/>
                      </a:endParaRPr>
                    </a:p>
                    <a:p>
                      <a:pPr algn="l" fontAlgn="base"/>
                      <a:r>
                        <a:rPr lang="en-US" sz="1500" b="0" i="0" dirty="0">
                          <a:solidFill>
                            <a:srgbClr val="000000"/>
                          </a:solidFill>
                          <a:effectLst/>
                          <a:latin typeface="Calibri" panose="020F0502020204030204" pitchFamily="34" charset="0"/>
                        </a:rPr>
                        <a:t>Execute joint communications plan for aligned message​</a:t>
                      </a:r>
                      <a:endParaRPr lang="en-US" sz="1500" b="0" i="0" dirty="0">
                        <a:solidFill>
                          <a:srgbClr val="000000"/>
                        </a:solidFill>
                        <a:effectLst/>
                      </a:endParaRPr>
                    </a:p>
                    <a:p>
                      <a:pPr algn="l" fontAlgn="base"/>
                      <a:r>
                        <a:rPr lang="en-US" sz="1500" b="0" i="0" dirty="0">
                          <a:solidFill>
                            <a:srgbClr val="000000"/>
                          </a:solidFill>
                          <a:effectLst/>
                          <a:latin typeface="Calibri" panose="020F0502020204030204" pitchFamily="34" charset="0"/>
                        </a:rPr>
                        <a:t>Joint IRF work group meetings​</a:t>
                      </a:r>
                      <a:endParaRPr lang="en-US" sz="1500" b="0" i="0" dirty="0">
                        <a:solidFill>
                          <a:srgbClr val="000000"/>
                        </a:solidFill>
                        <a:effectLst/>
                      </a:endParaRPr>
                    </a:p>
                    <a:p>
                      <a:pPr algn="l" fontAlgn="base"/>
                      <a:r>
                        <a:rPr lang="en-US" sz="1500" b="0" i="0" dirty="0">
                          <a:solidFill>
                            <a:srgbClr val="000000"/>
                          </a:solidFill>
                          <a:effectLst/>
                          <a:latin typeface="Calibri" panose="020F0502020204030204" pitchFamily="34" charset="0"/>
                        </a:rPr>
                        <a:t>Decide any future work scope ​</a:t>
                      </a:r>
                      <a:endParaRPr lang="en-US" sz="1500" b="0" i="0" dirty="0">
                        <a:solidFill>
                          <a:srgbClr val="000000"/>
                        </a:solidFill>
                        <a:effectLst/>
                      </a:endParaRP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CCD5DB"/>
                    </a:solidFill>
                  </a:tcPr>
                </a:tc>
                <a:tc>
                  <a:txBody>
                    <a:bodyPr/>
                    <a:lstStyle/>
                    <a:p>
                      <a:pPr algn="ctr" fontAlgn="auto"/>
                      <a:r>
                        <a:rPr lang="en-US" sz="700" b="0" i="0">
                          <a:solidFill>
                            <a:srgbClr val="7F7F7F"/>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A2CAA0"/>
                    </a:solidFill>
                  </a:tcPr>
                </a:tc>
                <a:tc>
                  <a:txBody>
                    <a:bodyPr/>
                    <a:lstStyle/>
                    <a:p>
                      <a:pPr algn="ctr" fontAlgn="auto"/>
                      <a:r>
                        <a:rPr lang="en-US" sz="1200" b="1" i="0">
                          <a:solidFill>
                            <a:srgbClr val="000000"/>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A2CAA0"/>
                    </a:solidFill>
                  </a:tcPr>
                </a:tc>
                <a:tc>
                  <a:txBody>
                    <a:bodyPr/>
                    <a:lstStyle/>
                    <a:p>
                      <a:pPr algn="ctr" fontAlgn="auto"/>
                      <a:r>
                        <a:rPr lang="en-US" sz="1200" b="1" i="0">
                          <a:solidFill>
                            <a:srgbClr val="000000"/>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A2CAA0"/>
                    </a:solidFill>
                  </a:tcPr>
                </a:tc>
                <a:extLst>
                  <a:ext uri="{0D108BD9-81ED-4DB2-BD59-A6C34878D82A}">
                    <a16:rowId xmlns:a16="http://schemas.microsoft.com/office/drawing/2014/main" val="4270885531"/>
                  </a:ext>
                </a:extLst>
              </a:tr>
              <a:tr h="611928">
                <a:tc>
                  <a:txBody>
                    <a:bodyPr/>
                    <a:lstStyle/>
                    <a:p>
                      <a:pPr algn="l" fontAlgn="base"/>
                      <a:r>
                        <a:rPr lang="en-US" sz="1500" b="0" i="0">
                          <a:solidFill>
                            <a:srgbClr val="000000"/>
                          </a:solidFill>
                          <a:effectLst/>
                          <a:latin typeface="Calibri" panose="020F0502020204030204" pitchFamily="34" charset="0"/>
                        </a:rPr>
                        <a:t>Measure implementation result through IRF member audits/verifications​</a:t>
                      </a:r>
                      <a:endParaRPr lang="en-US" sz="1500" b="0" i="0">
                        <a:solidFill>
                          <a:srgbClr val="000000"/>
                        </a:solidFill>
                        <a:effectLst/>
                      </a:endParaRP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E7EBEE"/>
                    </a:solidFill>
                  </a:tcPr>
                </a:tc>
                <a:tc>
                  <a:txBody>
                    <a:bodyPr/>
                    <a:lstStyle/>
                    <a:p>
                      <a:pPr algn="ctr" fontAlgn="auto"/>
                      <a:r>
                        <a:rPr lang="en-US" sz="700" b="0" i="0">
                          <a:solidFill>
                            <a:srgbClr val="7F7F7F"/>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E7EBEE"/>
                    </a:solidFill>
                  </a:tcPr>
                </a:tc>
                <a:tc>
                  <a:txBody>
                    <a:bodyPr/>
                    <a:lstStyle/>
                    <a:p>
                      <a:pPr algn="ctr" fontAlgn="auto"/>
                      <a:r>
                        <a:rPr lang="en-US" sz="1200" b="1" i="0">
                          <a:solidFill>
                            <a:srgbClr val="000000"/>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E7EBEE"/>
                    </a:solidFill>
                  </a:tcPr>
                </a:tc>
                <a:tc>
                  <a:txBody>
                    <a:bodyPr/>
                    <a:lstStyle/>
                    <a:p>
                      <a:pPr algn="ctr" fontAlgn="auto"/>
                      <a:r>
                        <a:rPr lang="en-US" sz="1000" b="1" i="0" dirty="0">
                          <a:solidFill>
                            <a:srgbClr val="000000"/>
                          </a:solidFill>
                          <a:effectLst/>
                          <a:latin typeface="Open Sans" panose="020B0606030504020204" pitchFamily="34" charset="0"/>
                        </a:rPr>
                        <a:t>​</a:t>
                      </a:r>
                    </a:p>
                  </a:txBody>
                  <a:tcPr marL="78402" marR="78402" marT="39201" marB="39201" anchor="ctr">
                    <a:lnL w="15554" cap="flat" cmpd="sng" algn="ctr">
                      <a:solidFill>
                        <a:srgbClr val="FFFFFF"/>
                      </a:solidFill>
                      <a:prstDash val="solid"/>
                      <a:round/>
                      <a:headEnd type="none" w="med" len="med"/>
                      <a:tailEnd type="none" w="med" len="med"/>
                    </a:lnL>
                    <a:lnR w="15554" cap="flat" cmpd="sng" algn="ctr">
                      <a:solidFill>
                        <a:srgbClr val="FFFFFF"/>
                      </a:solidFill>
                      <a:prstDash val="solid"/>
                      <a:round/>
                      <a:headEnd type="none" w="med" len="med"/>
                      <a:tailEnd type="none" w="med" len="med"/>
                    </a:lnR>
                    <a:lnT w="15554" cap="flat" cmpd="sng" algn="ctr">
                      <a:solidFill>
                        <a:srgbClr val="FFFFFF"/>
                      </a:solidFill>
                      <a:prstDash val="solid"/>
                      <a:round/>
                      <a:headEnd type="none" w="med" len="med"/>
                      <a:tailEnd type="none" w="med" len="med"/>
                    </a:lnT>
                    <a:lnB w="15554" cap="flat" cmpd="sng" algn="ctr">
                      <a:solidFill>
                        <a:srgbClr val="FFFFFF"/>
                      </a:solidFill>
                      <a:prstDash val="solid"/>
                      <a:round/>
                      <a:headEnd type="none" w="med" len="med"/>
                      <a:tailEnd type="none" w="med" len="med"/>
                    </a:lnB>
                    <a:solidFill>
                      <a:srgbClr val="A2CAA0"/>
                    </a:solidFill>
                  </a:tcPr>
                </a:tc>
                <a:extLst>
                  <a:ext uri="{0D108BD9-81ED-4DB2-BD59-A6C34878D82A}">
                    <a16:rowId xmlns:a16="http://schemas.microsoft.com/office/drawing/2014/main" val="2228144844"/>
                  </a:ext>
                </a:extLst>
              </a:tr>
            </a:tbl>
          </a:graphicData>
        </a:graphic>
      </p:graphicFrame>
    </p:spTree>
    <p:extLst>
      <p:ext uri="{BB962C8B-B14F-4D97-AF65-F5344CB8AC3E}">
        <p14:creationId xmlns:p14="http://schemas.microsoft.com/office/powerpoint/2010/main" val="3035843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EEED2BB-291A-4341-892D-F3EC1475A79D}"/>
              </a:ext>
            </a:extLst>
          </p:cNvPr>
          <p:cNvSpPr>
            <a:spLocks noGrp="1"/>
          </p:cNvSpPr>
          <p:nvPr>
            <p:ph type="ctrTitle"/>
          </p:nvPr>
        </p:nvSpPr>
        <p:spPr>
          <a:xfrm>
            <a:off x="1857375" y="3209925"/>
            <a:ext cx="9448800" cy="1886510"/>
          </a:xfrm>
        </p:spPr>
        <p:txBody>
          <a:bodyPr>
            <a:normAutofit fontScale="90000"/>
          </a:bodyPr>
          <a:lstStyle/>
          <a:p>
            <a:r>
              <a:rPr lang="nb-NO" sz="1800" b="0" i="0" u="none" strike="noStrike" baseline="0" dirty="0">
                <a:solidFill>
                  <a:srgbClr val="000000"/>
                </a:solidFill>
                <a:latin typeface="Arial" panose="020B0604020202020204" pitchFamily="34" charset="0"/>
              </a:rPr>
              <a:t/>
            </a:r>
            <a:br>
              <a:rPr lang="nb-NO" sz="1800" b="0" i="0" u="none" strike="noStrike" baseline="0" dirty="0">
                <a:solidFill>
                  <a:srgbClr val="000000"/>
                </a:solidFill>
                <a:latin typeface="Arial" panose="020B0604020202020204" pitchFamily="34" charset="0"/>
              </a:rPr>
            </a:br>
            <a:r>
              <a:rPr lang="nb-NO" sz="1800" b="0" i="0" u="none" strike="noStrike" baseline="0" dirty="0">
                <a:latin typeface="Arial" panose="020B0604020202020204" pitchFamily="34" charset="0"/>
              </a:rPr>
              <a:t/>
            </a:r>
            <a:br>
              <a:rPr lang="nb-NO" sz="1800" b="0" i="0" u="none" strike="noStrike" baseline="0" dirty="0">
                <a:latin typeface="Arial" panose="020B0604020202020204" pitchFamily="34" charset="0"/>
              </a:rPr>
            </a:br>
            <a:r>
              <a:rPr lang="nb-NO" sz="4400" b="0" i="0" u="none" strike="noStrike" baseline="0" dirty="0">
                <a:solidFill>
                  <a:schemeClr val="accent1">
                    <a:lumMod val="50000"/>
                  </a:schemeClr>
                </a:solidFill>
                <a:effectLst>
                  <a:outerShdw blurRad="38100" dist="38100" dir="2700000" algn="tl">
                    <a:srgbClr val="000000">
                      <a:alpha val="43137"/>
                    </a:srgbClr>
                  </a:outerShdw>
                </a:effectLst>
                <a:latin typeface="Arial" panose="020B0604020202020204" pitchFamily="34" charset="0"/>
              </a:rPr>
              <a:t>Digitalisation Problem Statement –</a:t>
            </a:r>
            <a:br>
              <a:rPr lang="nb-NO" sz="4400" b="0" i="0" u="none" strike="noStrike" baseline="0" dirty="0">
                <a:solidFill>
                  <a:schemeClr val="accent1">
                    <a:lumMod val="50000"/>
                  </a:schemeClr>
                </a:solidFill>
                <a:effectLst>
                  <a:outerShdw blurRad="38100" dist="38100" dir="2700000" algn="tl">
                    <a:srgbClr val="000000">
                      <a:alpha val="43137"/>
                    </a:srgbClr>
                  </a:outerShdw>
                </a:effectLst>
                <a:latin typeface="Arial" panose="020B0604020202020204" pitchFamily="34" charset="0"/>
              </a:rPr>
            </a:br>
            <a:r>
              <a:rPr lang="nb-NO" sz="4400" b="0" i="0" u="none" strike="noStrike" baseline="0" dirty="0">
                <a:solidFill>
                  <a:schemeClr val="accent1">
                    <a:lumMod val="50000"/>
                  </a:schemeClr>
                </a:solidFill>
                <a:effectLst>
                  <a:outerShdw blurRad="38100" dist="38100" dir="2700000" algn="tl">
                    <a:srgbClr val="000000">
                      <a:alpha val="43137"/>
                    </a:srgbClr>
                  </a:outerShdw>
                </a:effectLst>
                <a:latin typeface="Arial" panose="020B0604020202020204" pitchFamily="34" charset="0"/>
              </a:rPr>
              <a:t>Briefing </a:t>
            </a:r>
            <a:r>
              <a:rPr lang="nb-NO" sz="4400" b="0" i="0" u="none" strike="noStrike" baseline="0" dirty="0" smtClean="0">
                <a:solidFill>
                  <a:schemeClr val="accent1">
                    <a:lumMod val="50000"/>
                  </a:schemeClr>
                </a:solidFill>
                <a:effectLst>
                  <a:outerShdw blurRad="38100" dist="38100" dir="2700000" algn="tl">
                    <a:srgbClr val="000000">
                      <a:alpha val="43137"/>
                    </a:srgbClr>
                  </a:outerShdw>
                </a:effectLst>
                <a:latin typeface="Arial" panose="020B0604020202020204" pitchFamily="34" charset="0"/>
              </a:rPr>
              <a:t>Pack </a:t>
            </a:r>
            <a:br>
              <a:rPr lang="nb-NO" sz="4400" b="0" i="0" u="none" strike="noStrike" baseline="0" dirty="0" smtClean="0">
                <a:solidFill>
                  <a:schemeClr val="accent1">
                    <a:lumMod val="50000"/>
                  </a:schemeClr>
                </a:solidFill>
                <a:effectLst>
                  <a:outerShdw blurRad="38100" dist="38100" dir="2700000" algn="tl">
                    <a:srgbClr val="000000">
                      <a:alpha val="43137"/>
                    </a:srgbClr>
                  </a:outerShdw>
                </a:effectLst>
                <a:latin typeface="Arial" panose="020B0604020202020204" pitchFamily="34" charset="0"/>
              </a:rPr>
            </a:br>
            <a:r>
              <a:rPr lang="en-AU" sz="2000" dirty="0" smtClean="0">
                <a:solidFill>
                  <a:schemeClr val="accent1">
                    <a:lumMod val="50000"/>
                  </a:schemeClr>
                </a:solidFill>
                <a:effectLst>
                  <a:outerShdw blurRad="38100" dist="38100" dir="2700000" algn="tl">
                    <a:srgbClr val="000000">
                      <a:alpha val="43137"/>
                    </a:srgbClr>
                  </a:outerShdw>
                </a:effectLst>
                <a:latin typeface="Arial" panose="020B0604020202020204" pitchFamily="34" charset="0"/>
              </a:rPr>
              <a:t>September </a:t>
            </a:r>
            <a:r>
              <a:rPr lang="en-AU" sz="2000" b="0" i="0" u="none" strike="noStrike" baseline="0" dirty="0" smtClean="0">
                <a:solidFill>
                  <a:schemeClr val="accent1">
                    <a:lumMod val="50000"/>
                  </a:schemeClr>
                </a:solidFill>
                <a:effectLst>
                  <a:outerShdw blurRad="38100" dist="38100" dir="2700000" algn="tl">
                    <a:srgbClr val="000000">
                      <a:alpha val="43137"/>
                    </a:srgbClr>
                  </a:outerShdw>
                </a:effectLst>
                <a:latin typeface="Arial" panose="020B0604020202020204" pitchFamily="34" charset="0"/>
              </a:rPr>
              <a:t>2021</a:t>
            </a:r>
            <a:r>
              <a:rPr lang="nb-NO" sz="4400" b="0" i="0" u="none" strike="noStrike" baseline="0" dirty="0" smtClean="0">
                <a:solidFill>
                  <a:schemeClr val="accent1">
                    <a:lumMod val="50000"/>
                  </a:schemeClr>
                </a:solidFill>
                <a:effectLst>
                  <a:outerShdw blurRad="38100" dist="38100" dir="2700000" algn="tl">
                    <a:srgbClr val="000000">
                      <a:alpha val="43137"/>
                    </a:srgbClr>
                  </a:outerShdw>
                </a:effectLst>
                <a:latin typeface="Arial" panose="020B0604020202020204" pitchFamily="34" charset="0"/>
              </a:rPr>
              <a:t> </a:t>
            </a:r>
            <a:endParaRPr lang="nb-NO" sz="4400" dirty="0">
              <a:solidFill>
                <a:schemeClr val="accent1">
                  <a:lumMod val="50000"/>
                </a:schemeClr>
              </a:solidFill>
              <a:effectLst>
                <a:outerShdw blurRad="38100" dist="38100" dir="2700000" algn="tl">
                  <a:srgbClr val="000000">
                    <a:alpha val="43137"/>
                  </a:srgbClr>
                </a:outerShdw>
              </a:effectLst>
            </a:endParaRPr>
          </a:p>
        </p:txBody>
      </p:sp>
      <p:pic>
        <p:nvPicPr>
          <p:cNvPr id="5" name="Bilde 4">
            <a:extLst>
              <a:ext uri="{FF2B5EF4-FFF2-40B4-BE49-F238E27FC236}">
                <a16:creationId xmlns:a16="http://schemas.microsoft.com/office/drawing/2014/main" id="{B2B73148-9E74-4B7E-8965-3DE766D567BA}"/>
              </a:ext>
            </a:extLst>
          </p:cNvPr>
          <p:cNvPicPr>
            <a:picLocks noChangeAspect="1"/>
          </p:cNvPicPr>
          <p:nvPr/>
        </p:nvPicPr>
        <p:blipFill>
          <a:blip r:embed="rId2"/>
          <a:stretch>
            <a:fillRect/>
          </a:stretch>
        </p:blipFill>
        <p:spPr>
          <a:xfrm>
            <a:off x="6200274" y="1"/>
            <a:ext cx="5991726" cy="2651511"/>
          </a:xfrm>
          <a:prstGeom prst="rect">
            <a:avLst/>
          </a:prstGeom>
        </p:spPr>
      </p:pic>
      <p:pic>
        <p:nvPicPr>
          <p:cNvPr id="7" name="Bilde 6">
            <a:extLst>
              <a:ext uri="{FF2B5EF4-FFF2-40B4-BE49-F238E27FC236}">
                <a16:creationId xmlns:a16="http://schemas.microsoft.com/office/drawing/2014/main" id="{6DF4228E-4ED6-4C94-A820-9800A7E9191B}"/>
              </a:ext>
            </a:extLst>
          </p:cNvPr>
          <p:cNvPicPr>
            <a:picLocks noChangeAspect="1"/>
          </p:cNvPicPr>
          <p:nvPr/>
        </p:nvPicPr>
        <p:blipFill>
          <a:blip r:embed="rId2"/>
          <a:stretch>
            <a:fillRect/>
          </a:stretch>
        </p:blipFill>
        <p:spPr>
          <a:xfrm>
            <a:off x="257175" y="5585044"/>
            <a:ext cx="2876550" cy="1272956"/>
          </a:xfrm>
          <a:prstGeom prst="rect">
            <a:avLst/>
          </a:prstGeom>
        </p:spPr>
      </p:pic>
    </p:spTree>
    <p:extLst>
      <p:ext uri="{BB962C8B-B14F-4D97-AF65-F5344CB8AC3E}">
        <p14:creationId xmlns:p14="http://schemas.microsoft.com/office/powerpoint/2010/main" val="22671497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yw9KuD_RE.HoT.h_IXj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yw9KuD_RE.HoT.h_IXj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yw9KuD_RE.HoT.h_IXjdA"/>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55A5EFE37C7FE4FAC20477A71611A21" ma:contentTypeVersion="8" ma:contentTypeDescription="Opprett et nytt dokument." ma:contentTypeScope="" ma:versionID="f7ccdf9e5ebed270f0c783497798ff59">
  <xsd:schema xmlns:xsd="http://www.w3.org/2001/XMLSchema" xmlns:xs="http://www.w3.org/2001/XMLSchema" xmlns:p="http://schemas.microsoft.com/office/2006/metadata/properties" xmlns:ns2="92d7ec4c-dc3d-47dd-9661-f8fb82a14f53" xmlns:ns3="b9af7fa7-bd27-459d-9fd7-56346733abca" xmlns:ns4="a3c877ed-36dd-4920-8b87-7a3a1b175e39" targetNamespace="http://schemas.microsoft.com/office/2006/metadata/properties" ma:root="true" ma:fieldsID="6e7a3236a7bd600fa2dcf409004eef1c" ns2:_="" ns3:_="" ns4:_="">
    <xsd:import namespace="92d7ec4c-dc3d-47dd-9661-f8fb82a14f53"/>
    <xsd:import namespace="b9af7fa7-bd27-459d-9fd7-56346733abca"/>
    <xsd:import namespace="a3c877ed-36dd-4920-8b87-7a3a1b175e39"/>
    <xsd:element name="properties">
      <xsd:complexType>
        <xsd:sequence>
          <xsd:element name="documentManagement">
            <xsd:complexType>
              <xsd:all>
                <xsd:element ref="ns2:b66c411f72004859959e1d1eb2d2d643" minOccurs="0"/>
                <xsd:element ref="ns2:TaxCatchAll" minOccurs="0"/>
                <xsd:element ref="ns2:TaxCatchAllLabel" minOccurs="0"/>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d7ec4c-dc3d-47dd-9661-f8fb82a14f53" elementFormDefault="qualified">
    <xsd:import namespace="http://schemas.microsoft.com/office/2006/documentManagement/types"/>
    <xsd:import namespace="http://schemas.microsoft.com/office/infopath/2007/PartnerControls"/>
    <xsd:element name="b66c411f72004859959e1d1eb2d2d643" ma:index="8" nillable="true" ma:taxonomy="true" ma:internalName="b66c411f72004859959e1d1eb2d2d643" ma:taxonomyFieldName="Klassifisering" ma:displayName="Klassifisering" ma:default="" ma:fieldId="{b66c411f-7200-4859-959e-1d1eb2d2d643}" ma:sspId="c9a5a0dd-12bc-4bc7-9660-0110192042dc" ma:termSetId="91d45206-ab98-4763-a4e4-6b30c71fe0c2"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ce3a26c9-f087-4639-9320-48a82ea8d023}" ma:internalName="TaxCatchAll" ma:showField="CatchAllData" ma:web="a3c877ed-36dd-4920-8b87-7a3a1b175e3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ce3a26c9-f087-4639-9320-48a82ea8d023}" ma:internalName="TaxCatchAllLabel" ma:readOnly="true" ma:showField="CatchAllDataLabel" ma:web="a3c877ed-36dd-4920-8b87-7a3a1b175e3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9af7fa7-bd27-459d-9fd7-56346733abca"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3c877ed-36dd-4920-8b87-7a3a1b175e39" elementFormDefault="qualified">
    <xsd:import namespace="http://schemas.microsoft.com/office/2006/documentManagement/types"/>
    <xsd:import namespace="http://schemas.microsoft.com/office/infopath/2007/PartnerControls"/>
    <xsd:element name="SharedWithUsers" ma:index="16"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92d7ec4c-dc3d-47dd-9661-f8fb82a14f53"/>
    <b66c411f72004859959e1d1eb2d2d643 xmlns="92d7ec4c-dc3d-47dd-9661-f8fb82a14f53">
      <Terms xmlns="http://schemas.microsoft.com/office/infopath/2007/PartnerControls"/>
    </b66c411f72004859959e1d1eb2d2d643>
  </documentManagement>
</p:properties>
</file>

<file path=customXml/item3.xml><?xml version="1.0" encoding="utf-8"?>
<metadata xmlns="http://www.objective.com/ecm/document/metadata/2C89A8D7623F46F88A15EF133A706EA0" version="1.0.0">
  <systemFields>
    <field name="Objective-Id">
      <value order="0">A801821</value>
    </field>
    <field name="Objective-Title">
      <value order="0">Presentation - IRF Digitisation problem statement briefing pack 09-09-2021</value>
    </field>
    <field name="Objective-Description">
      <value order="0"/>
    </field>
    <field name="Objective-CreationStamp">
      <value order="0">2021-09-09T02:44:14Z</value>
    </field>
    <field name="Objective-IsApproved">
      <value order="0">false</value>
    </field>
    <field name="Objective-IsPublished">
      <value order="0">false</value>
    </field>
    <field name="Objective-DatePublished">
      <value order="0"/>
    </field>
    <field name="Objective-ModificationStamp">
      <value order="0">2021-09-16T05:35:41Z</value>
    </field>
    <field name="Objective-Owner">
      <value order="0">Pauline Goh</value>
    </field>
    <field name="Objective-Path">
      <value order="0">Objective Global Folder:File Plan:Interagency Co-ordination and Relations:Interagency Liaison:Foreign Government Agencies:International Regulators Forum - IRF - 2021</value>
    </field>
    <field name="Objective-Parent">
      <value order="0">International Regulators Forum - IRF - 2021</value>
    </field>
    <field name="Objective-State">
      <value order="0">Being Drafted</value>
    </field>
    <field name="Objective-VersionId">
      <value order="0">vA1576770</value>
    </field>
    <field name="Objective-Version">
      <value order="0">0.3</value>
    </field>
    <field name="Objective-VersionNumber">
      <value order="0">3</value>
    </field>
    <field name="Objective-VersionComment">
      <value order="0"/>
    </field>
    <field name="Objective-FileNumber">
      <value order="0">C22490</value>
    </field>
    <field name="Objective-Classification">
      <value order="0">OFFICIAL</value>
    </field>
    <field name="Objective-Caveats">
      <value order="0"/>
    </field>
  </systemFields>
  <catalogues>
    <catalogue name="Document - Internal Type Catalogue" type="type" ori="id:cA5">
      <field name="Objective-IMM (prev DLM)">
        <value order="0"/>
      </field>
      <field name="Objective-Internal Author">
        <value order="0">Pauline Goh</value>
      </field>
      <field name="Objective-Date of Document">
        <value order="0"/>
      </field>
      <field name="Objective-Duty Holders and Organisations">
        <value order="0"/>
      </field>
      <field name="Objective-Facility">
        <value order="0"/>
      </field>
      <field name="Objective-RMS ID">
        <value order="0"/>
      </field>
      <field name="Objective-Monthly Injury Summary ID">
        <value order="0"/>
      </field>
      <field name="Objective-Organisation">
        <value order="0"/>
      </field>
      <field name="Objective-Action History">
        <value order="0"/>
      </field>
      <field name="Objective-Approved for External Publication">
        <value order="0">No</value>
      </field>
      <field name="Objective-Connect Creator">
        <value order="0"/>
      </field>
    </catalogue>
  </catalogues>
</metadata>
</file>

<file path=customXml/item4.xml><?xml version="1.0" encoding="utf-8"?>
<?mso-contentType ?>
<SharedContentType xmlns="Microsoft.SharePoint.Taxonomy.ContentTypeSync" SourceId="c9a5a0dd-12bc-4bc7-9660-0110192042dc" ContentTypeId="0x0101" PreviousValue="false"/>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7C1159-D956-4E74-98E3-ADD86DD10760}">
  <ds:schemaRefs>
    <ds:schemaRef ds:uri="92d7ec4c-dc3d-47dd-9661-f8fb82a14f53"/>
    <ds:schemaRef ds:uri="a3c877ed-36dd-4920-8b87-7a3a1b175e39"/>
    <ds:schemaRef ds:uri="b9af7fa7-bd27-459d-9fd7-56346733abc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417D7F3-E5BD-464B-A86A-9F0400A61935}">
  <ds:schemaRefs>
    <ds:schemaRef ds:uri="http://schemas.openxmlformats.org/package/2006/metadata/core-properties"/>
    <ds:schemaRef ds:uri="http://purl.org/dc/dcmitype/"/>
    <ds:schemaRef ds:uri="http://purl.org/dc/terms/"/>
    <ds:schemaRef ds:uri="http://purl.org/dc/elements/1.1/"/>
    <ds:schemaRef ds:uri="http://schemas.microsoft.com/office/infopath/2007/PartnerControls"/>
    <ds:schemaRef ds:uri="http://schemas.microsoft.com/office/2006/metadata/properties"/>
    <ds:schemaRef ds:uri="http://schemas.microsoft.com/office/2006/documentManagement/types"/>
    <ds:schemaRef ds:uri="a3c877ed-36dd-4920-8b87-7a3a1b175e39"/>
    <ds:schemaRef ds:uri="b9af7fa7-bd27-459d-9fd7-56346733abca"/>
    <ds:schemaRef ds:uri="92d7ec4c-dc3d-47dd-9661-f8fb82a14f53"/>
    <ds:schemaRef ds:uri="http://www.w3.org/XML/1998/namespace"/>
  </ds:schemaRefs>
</ds:datastoreItem>
</file>

<file path=customXml/itemProps3.xml><?xml version="1.0" encoding="utf-8"?>
<ds:datastoreItem xmlns:ds="http://schemas.openxmlformats.org/officeDocument/2006/customXml" ds:itemID="{5745109E-2DDF-40CB-AC2B-FF9B10C90820}">
  <ds:schemaRefs>
    <ds:schemaRef ds:uri="http://www.objective.com/ecm/document/metadata/2C89A8D7623F46F88A15EF133A706EA0"/>
  </ds:schemaRefs>
</ds:datastoreItem>
</file>

<file path=customXml/itemProps4.xml><?xml version="1.0" encoding="utf-8"?>
<ds:datastoreItem xmlns:ds="http://schemas.openxmlformats.org/officeDocument/2006/customXml" ds:itemID="{5FB1E9DD-1437-4F94-90BF-EBC17ACF38F7}">
  <ds:schemaRefs>
    <ds:schemaRef ds:uri="Microsoft.SharePoint.Taxonomy.ContentTypeSync"/>
  </ds:schemaRefs>
</ds:datastoreItem>
</file>

<file path=customXml/itemProps5.xml><?xml version="1.0" encoding="utf-8"?>
<ds:datastoreItem xmlns:ds="http://schemas.openxmlformats.org/officeDocument/2006/customXml" ds:itemID="{18717BB6-A9CD-4025-88F8-6B47A730655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4</TotalTime>
  <Words>1017</Words>
  <Application>Microsoft Office PowerPoint</Application>
  <PresentationFormat>Widescreen</PresentationFormat>
  <Paragraphs>121</Paragraphs>
  <Slides>9</Slides>
  <Notes>1</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9</vt:i4>
      </vt:variant>
    </vt:vector>
  </HeadingPairs>
  <TitlesOfParts>
    <vt:vector size="18" baseType="lpstr">
      <vt:lpstr>Arial</vt:lpstr>
      <vt:lpstr>Avenir Book</vt:lpstr>
      <vt:lpstr>Calibri</vt:lpstr>
      <vt:lpstr>Calibri Light</vt:lpstr>
      <vt:lpstr>Open Sans</vt:lpstr>
      <vt:lpstr>Segoe UI</vt:lpstr>
      <vt:lpstr>Source Sans Pro Light</vt:lpstr>
      <vt:lpstr>Symbol</vt:lpstr>
      <vt:lpstr>Office-tema</vt:lpstr>
      <vt:lpstr>  Digitalisation Problem Statement – Briefing Pack  September 2021 </vt:lpstr>
      <vt:lpstr> Which Problems are being tackled  </vt:lpstr>
      <vt:lpstr> Background </vt:lpstr>
      <vt:lpstr> Examples of the technologies and problems</vt:lpstr>
      <vt:lpstr> Evolution</vt:lpstr>
      <vt:lpstr>Digitalisation Problem Statement</vt:lpstr>
      <vt:lpstr>Organisation and reporting</vt:lpstr>
      <vt:lpstr>Schedule </vt:lpstr>
      <vt:lpstr>  Digitalisation Problem Statement – Briefing Pack  September 2021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isation Problem Statements – Briefing Pack</dc:title>
  <dc:creator>Linn Iren Vestly Bergh</dc:creator>
  <cp:lastModifiedBy>Stuart Pinks</cp:lastModifiedBy>
  <cp:revision>13</cp:revision>
  <dcterms:created xsi:type="dcterms:W3CDTF">2021-08-02T11:58:32Z</dcterms:created>
  <dcterms:modified xsi:type="dcterms:W3CDTF">2021-09-24T00:33: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55A5EFE37C7FE4FAC20477A71611A21</vt:lpwstr>
  </property>
  <property fmtid="{D5CDD505-2E9C-101B-9397-08002B2CF9AE}" pid="3" name="Klassifisering">
    <vt:lpwstr/>
  </property>
  <property fmtid="{D5CDD505-2E9C-101B-9397-08002B2CF9AE}" pid="4" name="Objective-Id">
    <vt:lpwstr>A801821</vt:lpwstr>
  </property>
  <property fmtid="{D5CDD505-2E9C-101B-9397-08002B2CF9AE}" pid="5" name="Objective-Title">
    <vt:lpwstr>Presentation - IRF Digitisation problem statement briefing pack 09-09-2021</vt:lpwstr>
  </property>
  <property fmtid="{D5CDD505-2E9C-101B-9397-08002B2CF9AE}" pid="6" name="Objective-Description">
    <vt:lpwstr/>
  </property>
  <property fmtid="{D5CDD505-2E9C-101B-9397-08002B2CF9AE}" pid="7" name="Objective-CreationStamp">
    <vt:filetime>2021-09-09T02:44:14Z</vt:filetime>
  </property>
  <property fmtid="{D5CDD505-2E9C-101B-9397-08002B2CF9AE}" pid="8" name="Objective-IsApproved">
    <vt:bool>false</vt:bool>
  </property>
  <property fmtid="{D5CDD505-2E9C-101B-9397-08002B2CF9AE}" pid="9" name="Objective-IsPublished">
    <vt:bool>false</vt:bool>
  </property>
  <property fmtid="{D5CDD505-2E9C-101B-9397-08002B2CF9AE}" pid="10" name="Objective-DatePublished">
    <vt:lpwstr/>
  </property>
  <property fmtid="{D5CDD505-2E9C-101B-9397-08002B2CF9AE}" pid="11" name="Objective-ModificationStamp">
    <vt:filetime>2021-09-16T05:35:41Z</vt:filetime>
  </property>
  <property fmtid="{D5CDD505-2E9C-101B-9397-08002B2CF9AE}" pid="12" name="Objective-Owner">
    <vt:lpwstr>Pauline Goh</vt:lpwstr>
  </property>
  <property fmtid="{D5CDD505-2E9C-101B-9397-08002B2CF9AE}" pid="13" name="Objective-Path">
    <vt:lpwstr>Objective Global Folder:File Plan:Interagency Co-ordination and Relations:Interagency Liaison:Foreign Government Agencies:International Regulators Forum - IRF - 2021</vt:lpwstr>
  </property>
  <property fmtid="{D5CDD505-2E9C-101B-9397-08002B2CF9AE}" pid="14" name="Objective-Parent">
    <vt:lpwstr>International Regulators Forum - IRF - 2021</vt:lpwstr>
  </property>
  <property fmtid="{D5CDD505-2E9C-101B-9397-08002B2CF9AE}" pid="15" name="Objective-State">
    <vt:lpwstr>Being Drafted</vt:lpwstr>
  </property>
  <property fmtid="{D5CDD505-2E9C-101B-9397-08002B2CF9AE}" pid="16" name="Objective-VersionId">
    <vt:lpwstr>vA1576770</vt:lpwstr>
  </property>
  <property fmtid="{D5CDD505-2E9C-101B-9397-08002B2CF9AE}" pid="17" name="Objective-Version">
    <vt:lpwstr>0.3</vt:lpwstr>
  </property>
  <property fmtid="{D5CDD505-2E9C-101B-9397-08002B2CF9AE}" pid="18" name="Objective-VersionNumber">
    <vt:r8>3</vt:r8>
  </property>
  <property fmtid="{D5CDD505-2E9C-101B-9397-08002B2CF9AE}" pid="19" name="Objective-VersionComment">
    <vt:lpwstr/>
  </property>
  <property fmtid="{D5CDD505-2E9C-101B-9397-08002B2CF9AE}" pid="20" name="Objective-FileNumber">
    <vt:lpwstr>C22490</vt:lpwstr>
  </property>
  <property fmtid="{D5CDD505-2E9C-101B-9397-08002B2CF9AE}" pid="21" name="Objective-Classification">
    <vt:lpwstr>OFFICIAL</vt:lpwstr>
  </property>
  <property fmtid="{D5CDD505-2E9C-101B-9397-08002B2CF9AE}" pid="22" name="Objective-Caveats">
    <vt:lpwstr/>
  </property>
  <property fmtid="{D5CDD505-2E9C-101B-9397-08002B2CF9AE}" pid="23" name="Objective-IMM (prev DLM)">
    <vt:lpwstr/>
  </property>
  <property fmtid="{D5CDD505-2E9C-101B-9397-08002B2CF9AE}" pid="24" name="Objective-Internal Author">
    <vt:lpwstr>Pauline Goh</vt:lpwstr>
  </property>
  <property fmtid="{D5CDD505-2E9C-101B-9397-08002B2CF9AE}" pid="25" name="Objective-Date of Document">
    <vt:lpwstr/>
  </property>
  <property fmtid="{D5CDD505-2E9C-101B-9397-08002B2CF9AE}" pid="26" name="Objective-Duty Holders and Organisations">
    <vt:lpwstr/>
  </property>
  <property fmtid="{D5CDD505-2E9C-101B-9397-08002B2CF9AE}" pid="27" name="Objective-Facility">
    <vt:lpwstr/>
  </property>
  <property fmtid="{D5CDD505-2E9C-101B-9397-08002B2CF9AE}" pid="28" name="Objective-RMS ID">
    <vt:lpwstr/>
  </property>
  <property fmtid="{D5CDD505-2E9C-101B-9397-08002B2CF9AE}" pid="29" name="Objective-Monthly Injury Summary ID">
    <vt:lpwstr/>
  </property>
  <property fmtid="{D5CDD505-2E9C-101B-9397-08002B2CF9AE}" pid="30" name="Objective-Organisation">
    <vt:lpwstr/>
  </property>
  <property fmtid="{D5CDD505-2E9C-101B-9397-08002B2CF9AE}" pid="31" name="Objective-Action History">
    <vt:lpwstr/>
  </property>
  <property fmtid="{D5CDD505-2E9C-101B-9397-08002B2CF9AE}" pid="32" name="Objective-Approved for External Publication">
    <vt:lpwstr>No</vt:lpwstr>
  </property>
  <property fmtid="{D5CDD505-2E9C-101B-9397-08002B2CF9AE}" pid="33" name="Objective-Connect Creator">
    <vt:lpwstr/>
  </property>
</Properties>
</file>